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slideLayouts/slideLayout11.xml" ContentType="application/vnd.openxmlformats-officedocument.presentationml.slideLayout+xml"/>
  <Override PartName="/ppt/theme/theme6.xml" ContentType="application/vnd.openxmlformats-officedocument.theme+xml"/>
  <Override PartName="/ppt/slideLayouts/slideLayout12.xml" ContentType="application/vnd.openxmlformats-officedocument.presentationml.slideLayout+xml"/>
  <Override PartName="/ppt/theme/theme7.xml" ContentType="application/vnd.openxmlformats-officedocument.theme+xml"/>
  <Override PartName="/ppt/slideLayouts/slideLayout13.xml" ContentType="application/vnd.openxmlformats-officedocument.presentationml.slideLayout+xml"/>
  <Override PartName="/ppt/theme/theme8.xml" ContentType="application/vnd.openxmlformats-officedocument.theme+xml"/>
  <Override PartName="/ppt/slideLayouts/slideLayout14.xml" ContentType="application/vnd.openxmlformats-officedocument.presentationml.slideLayout+xml"/>
  <Override PartName="/ppt/theme/theme9.xml" ContentType="application/vnd.openxmlformats-officedocument.theme+xml"/>
  <Override PartName="/ppt/slideLayouts/slideLayout15.xml" ContentType="application/vnd.openxmlformats-officedocument.presentationml.slideLayout+xml"/>
  <Override PartName="/ppt/theme/theme10.xml" ContentType="application/vnd.openxmlformats-officedocument.theme+xml"/>
  <Override PartName="/ppt/slideLayouts/slideLayout16.xml" ContentType="application/vnd.openxmlformats-officedocument.presentationml.slideLayout+xml"/>
  <Override PartName="/ppt/theme/theme11.xml" ContentType="application/vnd.openxmlformats-officedocument.theme+xml"/>
  <Override PartName="/ppt/slideLayouts/slideLayout17.xml" ContentType="application/vnd.openxmlformats-officedocument.presentationml.slideLayout+xml"/>
  <Override PartName="/ppt/theme/theme12.xml" ContentType="application/vnd.openxmlformats-officedocument.theme+xml"/>
  <Override PartName="/ppt/slideLayouts/slideLayout18.xml" ContentType="application/vnd.openxmlformats-officedocument.presentationml.slideLayout+xml"/>
  <Override PartName="/ppt/theme/theme13.xml" ContentType="application/vnd.openxmlformats-officedocument.theme+xml"/>
  <Override PartName="/ppt/slideLayouts/slideLayout19.xml" ContentType="application/vnd.openxmlformats-officedocument.presentationml.slideLayout+xml"/>
  <Override PartName="/ppt/theme/theme1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16.xml" ContentType="application/vnd.openxmlformats-officedocument.theme+xml"/>
  <Override PartName="/ppt/tags/tag3.xml" ContentType="application/vnd.openxmlformats-officedocument.presentationml.tags+xml"/>
  <Override PartName="/ppt/theme/theme1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charts/chart2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651" r:id="rId2"/>
    <p:sldMasterId id="2147483652" r:id="rId3"/>
    <p:sldMasterId id="2147483653" r:id="rId4"/>
    <p:sldMasterId id="2147483654" r:id="rId5"/>
    <p:sldMasterId id="2147483655" r:id="rId6"/>
    <p:sldMasterId id="2147483656" r:id="rId7"/>
    <p:sldMasterId id="2147483657" r:id="rId8"/>
    <p:sldMasterId id="2147483658" r:id="rId9"/>
    <p:sldMasterId id="2147483659" r:id="rId10"/>
    <p:sldMasterId id="2147483660" r:id="rId11"/>
    <p:sldMasterId id="2147483692" r:id="rId12"/>
    <p:sldMasterId id="2147483662" r:id="rId13"/>
    <p:sldMasterId id="2147483663" r:id="rId14"/>
    <p:sldMasterId id="2147483700" r:id="rId15"/>
    <p:sldMasterId id="2147483649" r:id="rId16"/>
  </p:sldMasterIdLst>
  <p:notesMasterIdLst>
    <p:notesMasterId r:id="rId35"/>
  </p:notesMasterIdLst>
  <p:sldIdLst>
    <p:sldId id="288" r:id="rId17"/>
    <p:sldId id="279" r:id="rId18"/>
    <p:sldId id="260" r:id="rId19"/>
    <p:sldId id="281" r:id="rId20"/>
    <p:sldId id="257" r:id="rId21"/>
    <p:sldId id="273" r:id="rId22"/>
    <p:sldId id="274" r:id="rId23"/>
    <p:sldId id="275" r:id="rId24"/>
    <p:sldId id="266" r:id="rId25"/>
    <p:sldId id="291" r:id="rId26"/>
    <p:sldId id="292" r:id="rId27"/>
    <p:sldId id="293" r:id="rId28"/>
    <p:sldId id="276" r:id="rId29"/>
    <p:sldId id="277" r:id="rId30"/>
    <p:sldId id="294" r:id="rId31"/>
    <p:sldId id="269" r:id="rId32"/>
    <p:sldId id="283" r:id="rId33"/>
    <p:sldId id="284" r:id="rId34"/>
  </p:sldIdLst>
  <p:sldSz cx="12192000" cy="6858000"/>
  <p:notesSz cx="6858000" cy="9144000"/>
  <p:custDataLst>
    <p:tags r:id="rId3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29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02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theme" Target="theme/theme1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Retrasos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</c:v>
                </c:pt>
                <c:pt idx="1">
                  <c:v>72</c:v>
                </c:pt>
                <c:pt idx="2">
                  <c:v>75</c:v>
                </c:pt>
                <c:pt idx="3">
                  <c:v>77</c:v>
                </c:pt>
                <c:pt idx="4">
                  <c:v>78</c:v>
                </c:pt>
              </c:numCache>
            </c:numRef>
          </c:val>
          <c:smooth val="0"/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E47-DC49-8924-0264C939B55F}"/>
            </c:ext>
          </c:extLst>
        </c:ser>
        <c:ser>
          <c:idx val="1"/>
          <c:order val="1"/>
          <c:tx>
            <c:v>Errore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65</c:v>
                </c:pt>
                <c:pt idx="1">
                  <c:v>67</c:v>
                </c:pt>
                <c:pt idx="2">
                  <c:v>69</c:v>
                </c:pt>
                <c:pt idx="3">
                  <c:v>73</c:v>
                </c:pt>
                <c:pt idx="4">
                  <c:v>75</c:v>
                </c:pt>
              </c:numCache>
            </c:numRef>
          </c:val>
          <c:smooth val="0"/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E47-DC49-8924-0264C939B55F}"/>
            </c:ext>
          </c:extLst>
        </c:ser>
        <c:ser>
          <c:idx val="2"/>
          <c:order val="2"/>
          <c:tx>
            <c:v>Pérdida de productividad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60</c:v>
                </c:pt>
                <c:pt idx="1">
                  <c:v>63</c:v>
                </c:pt>
                <c:pt idx="2">
                  <c:v>65</c:v>
                </c:pt>
                <c:pt idx="3">
                  <c:v>67</c:v>
                </c:pt>
                <c:pt idx="4">
                  <c:v>70</c:v>
                </c:pt>
              </c:numCache>
            </c:numRef>
          </c:val>
          <c:smooth val="0"/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E47-DC49-8924-0264C939B5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97681952"/>
        <c:axId val="998023600"/>
      </c:lineChart>
      <c:catAx>
        <c:axId val="99768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8023600"/>
        <c:crosses val="autoZero"/>
        <c:auto val="1"/>
        <c:lblAlgn val="ctr"/>
        <c:lblOffset val="100"/>
        <c:noMultiLvlLbl val="0"/>
      </c:catAx>
      <c:valAx>
        <c:axId val="99802360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768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Probabilidad (%)</c:v>
          </c:tx>
          <c:spPr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3="http://schemas.microsoft.com/office/drawing/2017/03/chart"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trasos en el desarrollo</c:v>
                </c:pt>
                <c:pt idx="1">
                  <c:v>Fallos en la integración tecnológica</c:v>
                </c:pt>
                <c:pt idx="2">
                  <c:v>Baja adopción por usuarios</c:v>
                </c:pt>
                <c:pt idx="3">
                  <c:v>Vulnerabilidades de segurida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</c:v>
                </c:pt>
                <c:pt idx="1">
                  <c:v>60</c:v>
                </c:pt>
                <c:pt idx="2">
                  <c:v>50</c:v>
                </c:pt>
                <c:pt idx="3">
                  <c:v>40</c:v>
                </c:pt>
              </c:numCache>
            </c:numRef>
          </c:val>
          <c:extLst xmlns:c16r3="http://schemas.microsoft.com/office/drawing/2017/03/chart"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E47-DC49-8924-0264C939B55F}"/>
            </c:ext>
          </c:extLst>
        </c:ser>
        <c:ser>
          <c:idx val="1"/>
          <c:order val="1"/>
          <c:tx>
            <c:v>Impacto (%)</c:v>
          </c:tx>
          <c:spPr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3="http://schemas.microsoft.com/office/drawing/2017/03/chart"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etrasos en el desarrollo</c:v>
                </c:pt>
                <c:pt idx="1">
                  <c:v>Fallos en la integración tecnológica</c:v>
                </c:pt>
                <c:pt idx="2">
                  <c:v>Baja adopción por usuarios</c:v>
                </c:pt>
                <c:pt idx="3">
                  <c:v>Vulnerabilidades de seguridad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80</c:v>
                </c:pt>
                <c:pt idx="1">
                  <c:v>75</c:v>
                </c:pt>
                <c:pt idx="2">
                  <c:v>70</c:v>
                </c:pt>
                <c:pt idx="3">
                  <c:v>90</c:v>
                </c:pt>
              </c:numCache>
            </c:numRef>
          </c:val>
          <c:extLst xmlns:c16r3="http://schemas.microsoft.com/office/drawing/2017/03/chart"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6E47-DC49-8924-0264C939B55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997681952"/>
        <c:axId val="998023600"/>
      </c:barChart>
      <c:catAx>
        <c:axId val="99768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8023600"/>
        <c:crosses val="autoZero"/>
        <c:auto val="1"/>
        <c:lblAlgn val="ctr"/>
        <c:lblOffset val="100"/>
        <c:noMultiLvlLbl val="0"/>
      </c:catAx>
      <c:valAx>
        <c:axId val="99802360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768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3="http://schemas.microsoft.com/office/drawing/2017/03/chart"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400">
          <a:solidFill>
            <a:schemeClr val="tx1"/>
          </a:solidFill>
          <a:latin typeface="+mn-lt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3C1EA2-F500-4D7B-98E7-C37A097C7D8E}" type="datetimeFigureOut">
              <a:rPr lang="es-ES" smtClean="0"/>
              <a:t>06/06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844F99-9D28-4C92-9D19-65512E4AB5B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68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3D9AC-E1BE-4356-6F19-EDCED6E9D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7E6BFC-F16B-9BD4-12D1-0001AEEA80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63E3F1-DB6B-B146-7252-8736BEA152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64FDFA-BD4C-33A0-BB4E-A91C998D1A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20235-DE1E-0E43-AF47-418E280831C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572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814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25D3F-2ED7-EDDC-23D1-6C2A8606B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725424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4BCDB5-92CE-19FC-210E-52831318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004F1-D87B-3EFD-38E4-82030EC3F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28C3EC-6AEF-4A9D-0ADF-E1554C7B9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021B172-A4F0-5282-DB74-F5ACD631B7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371599"/>
            <a:ext cx="7254240" cy="684848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A1B9EB-D4F3-ECAC-785C-671C0F3BF3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219007"/>
            <a:ext cx="7254240" cy="40293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7550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Four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57200"/>
            <a:ext cx="10972803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12240"/>
            <a:ext cx="5183188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44872"/>
            <a:ext cx="5183188" cy="164592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2" y="1412240"/>
            <a:ext cx="5183188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144872"/>
            <a:ext cx="5183189" cy="164592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6837BAB-9ADC-9365-5A0B-8A91EE33DA2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9601" y="3899216"/>
            <a:ext cx="5183188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BE79C132-0B69-207E-C232-9EE27B81446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9599" y="4631848"/>
            <a:ext cx="5183188" cy="164592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046A678-0BB1-E640-930F-4F9737D1D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6162" y="3911600"/>
            <a:ext cx="5183188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C46D1EF4-2522-BB04-328D-2B072016AAD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06160" y="4644232"/>
            <a:ext cx="5183189" cy="164592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664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3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4226560"/>
            <a:ext cx="3566160" cy="2032000"/>
          </a:xfrm>
        </p:spPr>
        <p:txBody>
          <a:bodyPr>
            <a:normAutofit/>
          </a:bodyPr>
          <a:lstStyle>
            <a:lvl1pPr marL="11113" indent="0" algn="ctr">
              <a:buNone/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4226560"/>
            <a:ext cx="3566160" cy="2032000"/>
          </a:xfrm>
        </p:spPr>
        <p:txBody>
          <a:bodyPr>
            <a:normAutofit/>
          </a:bodyPr>
          <a:lstStyle>
            <a:lvl1pPr marL="11113" indent="0" algn="ctr">
              <a:buNone/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4226560"/>
            <a:ext cx="3566160" cy="2032000"/>
          </a:xfrm>
        </p:spPr>
        <p:txBody>
          <a:bodyPr>
            <a:normAutofit/>
          </a:bodyPr>
          <a:lstStyle>
            <a:lvl1pPr marL="11113" indent="0" algn="ctr">
              <a:buNone/>
              <a:defRPr sz="12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B3F97D-7E38-574A-6E95-2F00134A846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3545840"/>
            <a:ext cx="3566159" cy="609600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38B55C3-B35F-408A-369D-8D1FF3D18EB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3545840"/>
            <a:ext cx="3566159" cy="609600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6F57E9-E945-F342-883D-87FEE1B72AC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3545840"/>
            <a:ext cx="3566159" cy="609600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910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86328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28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63056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939784" y="2503564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163056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939784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652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3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4020BC-5D0B-9B40-8801-ED945012C91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4591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25D3F-2ED7-EDDC-23D1-6C2A8606B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4BCDB5-92CE-19FC-210E-52831318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004F1-D87B-3EFD-38E4-82030EC3F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28C3EC-6AEF-4A9D-0ADF-E1554C7B9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021B172-A4F0-5282-DB74-F5ACD631B7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93920" y="1371600"/>
            <a:ext cx="5059680" cy="873761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A1B9EB-D4F3-ECAC-785C-671C0F3BF3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3920" y="2405949"/>
            <a:ext cx="6187440" cy="3694176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02266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3-Sections-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81400" y="1486263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581400" y="3113676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A1DB515-6EB5-E071-77D5-52780B1F93A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581400" y="4741091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DF4819-3238-D7A6-A1C2-3D6281B7411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9602" y="14862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9602" y="31118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0CFF52-B968-331C-1CD8-EA2083E67BDF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09602" y="47374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8458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3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4020BC-5D0B-9B40-8801-ED945012C91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4591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814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944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3-Sections-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81400" y="1486263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581400" y="3113676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A1DB515-6EB5-E071-77D5-52780B1F93A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581400" y="4741091"/>
            <a:ext cx="8000999" cy="155448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DF4819-3238-D7A6-A1C2-3D6281B7411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9602" y="14862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9602" y="31118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0CFF52-B968-331C-1CD8-EA2083E67BDF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09602" y="4737463"/>
            <a:ext cx="2743199" cy="155448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845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25D3F-2ED7-EDDC-23D1-6C2A8606B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64400"/>
            <a:ext cx="11125200" cy="6035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4BCDB5-92CE-19FC-210E-52831318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004F1-D87B-3EFD-38E4-82030EC3F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28C3EC-6AEF-4A9D-0ADF-E1554C7B9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021B172-A4F0-5282-DB74-F5ACD631B7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93920" y="1379473"/>
            <a:ext cx="5059680" cy="873761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A1B9EB-D4F3-ECAC-785C-671C0F3BF3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3920" y="2405949"/>
            <a:ext cx="6187440" cy="3694176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190C9A3-7A34-5164-8258-00B2DCAD2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373414"/>
            <a:ext cx="3814762" cy="307777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400" dirty="0" smtClean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6739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8967"/>
            <a:ext cx="10972800" cy="57446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11125200" cy="4775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60EBEA1-2486-71A9-D758-D6B0F343DA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373414"/>
            <a:ext cx="3814762" cy="307777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400" dirty="0" smtClean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663409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-3-Sections-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31520"/>
            <a:ext cx="11125200" cy="5856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201" y="1745776"/>
            <a:ext cx="7470948" cy="1188720"/>
          </a:xfrm>
        </p:spPr>
        <p:txBody>
          <a:bodyPr anchor="ctr">
            <a:noAutofit/>
          </a:bodyPr>
          <a:lstStyle>
            <a:lvl1pPr marL="11113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57201" y="3372535"/>
            <a:ext cx="7470948" cy="1188720"/>
          </a:xfrm>
        </p:spPr>
        <p:txBody>
          <a:bodyPr anchor="ctr">
            <a:noAutofit/>
          </a:bodyPr>
          <a:lstStyle>
            <a:lvl1pPr marL="11113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A1DB515-6EB5-E071-77D5-52780B1F93A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57201" y="4961894"/>
            <a:ext cx="7470948" cy="1188720"/>
          </a:xfrm>
        </p:spPr>
        <p:txBody>
          <a:bodyPr anchor="ctr">
            <a:noAutofit/>
          </a:bodyPr>
          <a:lstStyle>
            <a:lvl1pPr marL="11113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57199" y="2980449"/>
            <a:ext cx="7470949" cy="3719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8F9D80E-0842-15A6-6C6D-0517A43507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373414"/>
            <a:ext cx="3814762" cy="307777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400" dirty="0" smtClean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4A3002B-EC2A-5607-0219-ABA4303013FE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57199" y="1372713"/>
            <a:ext cx="7470949" cy="3719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16AEACE-148B-8F49-EB9F-85208709C970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57199" y="4589951"/>
            <a:ext cx="7470949" cy="37194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85335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3117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86328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28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63056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939784" y="2503564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163056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939784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48279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Secti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31520"/>
            <a:ext cx="11125200" cy="59606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81400" y="1486260"/>
            <a:ext cx="8000999" cy="22860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581400" y="3907614"/>
            <a:ext cx="8000999" cy="22860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DF4819-3238-D7A6-A1C2-3D6281B7411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9601" y="1486260"/>
            <a:ext cx="2743199" cy="2286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9601" y="3905800"/>
            <a:ext cx="2743199" cy="2286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813C9ED-3F91-72A3-F3C2-A7FED08D54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373414"/>
            <a:ext cx="3814762" cy="307777"/>
          </a:xfr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400" dirty="0" smtClean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8111989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5451"/>
            <a:ext cx="10972800" cy="6070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11125200" cy="4775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6312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212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Secti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81400" y="1486260"/>
            <a:ext cx="8000999" cy="22860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581400" y="3907615"/>
            <a:ext cx="8000999" cy="22860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DF4819-3238-D7A6-A1C2-3D6281B7411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609602" y="1486260"/>
            <a:ext cx="2743199" cy="2286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09602" y="3905800"/>
            <a:ext cx="2743199" cy="2286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6080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86328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28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63056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939784" y="2503564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163056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939784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652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3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4020BC-5D0B-9B40-8801-ED945012C91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459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5281"/>
            <a:ext cx="6400800" cy="319024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540" y="5181601"/>
            <a:ext cx="6400800" cy="695960"/>
          </a:xfrm>
        </p:spPr>
        <p:txBody>
          <a:bodyPr anchor="ctr"/>
          <a:lstStyle>
            <a:lvl1pPr marL="0" indent="0" algn="l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CB9B453-B113-191E-39AE-5F46524E5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24000" y="1082043"/>
            <a:ext cx="1391920" cy="467195"/>
          </a:xfrm>
        </p:spPr>
        <p:txBody>
          <a:bodyPr anchor="ctr"/>
          <a:lstStyle>
            <a:lvl1pPr marL="120648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131998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944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86328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0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28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63056" y="2501461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8939784" y="2503564"/>
            <a:ext cx="2642616" cy="375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163056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939784" y="1412241"/>
            <a:ext cx="2642616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200" b="1"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652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3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4226560"/>
            <a:ext cx="3566160" cy="203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4226560"/>
            <a:ext cx="3566160" cy="203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4226560"/>
            <a:ext cx="3566160" cy="203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B3F97D-7E38-574A-6E95-2F00134A846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3545840"/>
            <a:ext cx="3566159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38B55C3-B35F-408A-369D-8D1FF3D18EB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3545840"/>
            <a:ext cx="3566159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6F57E9-E945-F342-883D-87FEE1B72AC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3545840"/>
            <a:ext cx="3566159" cy="609600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0650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5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6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7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8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0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1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2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3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699" r:id="rId2"/>
    <p:sldLayoutId id="2147483698" r:id="rId3"/>
    <p:sldLayoutId id="2147483697" r:id="rId4"/>
    <p:sldLayoutId id="2147483696" r:id="rId5"/>
    <p:sldLayoutId id="2147483676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7DD4A8-9203-F4BF-31A5-47CFEC35A2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7DD4A8-9203-F4BF-31A5-47CFEC35A2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31520"/>
            <a:ext cx="11277600" cy="6035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1"/>
            <a:ext cx="112776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0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0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0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5" r:id="rId2"/>
    <p:sldLayoutId id="2147483704" r:id="rId3"/>
    <p:sldLayoutId id="2147483703" r:id="rId4"/>
    <p:sldLayoutId id="2147483695" r:id="rId5"/>
    <p:sldLayoutId id="2147483694" r:id="rId6"/>
    <p:sldLayoutId id="2147483693" r:id="rId7"/>
  </p:sldLayoutIdLst>
  <p:txStyles>
    <p:titleStyle>
      <a:lvl1pPr algn="l" defTabSz="914377" rtl="0" eaLnBrk="1" latinLnBrk="0" hangingPunct="1">
        <a:lnSpc>
          <a:spcPct val="65000"/>
        </a:lnSpc>
        <a:spcBef>
          <a:spcPct val="0"/>
        </a:spcBef>
        <a:buNone/>
        <a:defRPr sz="26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63" indent="-285750" algn="l" defTabSz="914377" rtl="0" eaLnBrk="1" latinLnBrk="0" hangingPunct="1">
        <a:lnSpc>
          <a:spcPct val="110000"/>
        </a:lnSpc>
        <a:spcBef>
          <a:spcPts val="1200"/>
        </a:spcBef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50" indent="-285750" algn="l" defTabSz="914377" rtl="0" eaLnBrk="1" latinLnBrk="0" hangingPunct="1">
        <a:lnSpc>
          <a:spcPct val="110000"/>
        </a:lnSpc>
        <a:spcBef>
          <a:spcPts val="1200"/>
        </a:spcBef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50" indent="-285750" algn="l" defTabSz="914377" rtl="0" eaLnBrk="1" latinLnBrk="0" hangingPunct="1">
        <a:lnSpc>
          <a:spcPct val="110000"/>
        </a:lnSpc>
        <a:spcBef>
          <a:spcPts val="1200"/>
        </a:spcBef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50" indent="-285750" algn="l" defTabSz="914377" rtl="0" eaLnBrk="1" latinLnBrk="0" hangingPunct="1">
        <a:lnSpc>
          <a:spcPct val="110000"/>
        </a:lnSpc>
        <a:spcBef>
          <a:spcPts val="1200"/>
        </a:spcBef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838" indent="-285750" algn="l" defTabSz="914377" rtl="0" eaLnBrk="1" latinLnBrk="0" hangingPunct="1">
        <a:lnSpc>
          <a:spcPct val="110000"/>
        </a:lnSpc>
        <a:spcBef>
          <a:spcPts val="1200"/>
        </a:spcBef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288" userDrawn="1">
          <p15:clr>
            <a:srgbClr val="F26B43"/>
          </p15:clr>
        </p15:guide>
        <p15:guide id="13" orient="horz" pos="3888" userDrawn="1">
          <p15:clr>
            <a:srgbClr val="F26B43"/>
          </p15:clr>
        </p15:guide>
        <p15:guide id="14" pos="7392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664" userDrawn="1">
          <p15:clr>
            <a:srgbClr val="F26B43"/>
          </p15:clr>
        </p15:guide>
        <p15:guide id="19" pos="5040" userDrawn="1">
          <p15:clr>
            <a:srgbClr val="F26B43"/>
          </p15:clr>
        </p15:guide>
        <p15:guide id="20" orient="horz" pos="816" userDrawn="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D811CA3-2873-2521-7AB6-41E271200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811CA3-2873-2521-7AB6-41E271200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0704" y="1016000"/>
            <a:ext cx="10134600" cy="8128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699" y="1967022"/>
            <a:ext cx="10136605" cy="4332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05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3600" b="1" i="0" kern="1200" cap="all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7663" indent="-336550" algn="l" defTabSz="914377" rtl="0" eaLnBrk="1" fontAlgn="ctr" latinLnBrk="0" hangingPunct="1">
        <a:lnSpc>
          <a:spcPct val="110000"/>
        </a:lnSpc>
        <a:spcBef>
          <a:spcPts val="1200"/>
        </a:spcBef>
        <a:buClrTx/>
        <a:buSzPct val="100000"/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fontAlgn="ctr" latinLnBrk="0" hangingPunct="1">
        <a:lnSpc>
          <a:spcPct val="110000"/>
        </a:lnSpc>
        <a:spcBef>
          <a:spcPts val="1200"/>
        </a:spcBef>
        <a:buClrTx/>
        <a:buSzPct val="100000"/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fontAlgn="ctr" latinLnBrk="0" hangingPunct="1">
        <a:lnSpc>
          <a:spcPct val="110000"/>
        </a:lnSpc>
        <a:spcBef>
          <a:spcPts val="1200"/>
        </a:spcBef>
        <a:buClrTx/>
        <a:buSzPct val="100000"/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fontAlgn="ctr" latinLnBrk="0" hangingPunct="1">
        <a:lnSpc>
          <a:spcPct val="110000"/>
        </a:lnSpc>
        <a:spcBef>
          <a:spcPts val="1200"/>
        </a:spcBef>
        <a:buClrTx/>
        <a:buSzPct val="100000"/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fontAlgn="ctr" latinLnBrk="0" hangingPunct="1">
        <a:lnSpc>
          <a:spcPct val="110000"/>
        </a:lnSpc>
        <a:spcBef>
          <a:spcPts val="1200"/>
        </a:spcBef>
        <a:buClrTx/>
        <a:buSzPct val="100000"/>
        <a:buFont typeface="Arial" panose="020B0604020202020204" pitchFamily="34" charset="0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>
          <p15:clr>
            <a:srgbClr val="F26B43"/>
          </p15:clr>
        </p15:guide>
        <p15:guide id="13" orient="horz" pos="4032">
          <p15:clr>
            <a:srgbClr val="F26B43"/>
          </p15:clr>
        </p15:guide>
        <p15:guide id="14" pos="7032">
          <p15:clr>
            <a:srgbClr val="F26B43"/>
          </p15:clr>
        </p15:guide>
        <p15:guide id="15" pos="3840">
          <p15:clr>
            <a:srgbClr val="F26B43"/>
          </p15:clr>
        </p15:guide>
        <p15:guide id="16" pos="648">
          <p15:clr>
            <a:srgbClr val="F26B43"/>
          </p15:clr>
        </p15:guide>
        <p15:guide id="17" orient="horz" pos="2160">
          <p15:clr>
            <a:srgbClr val="F26B43"/>
          </p15:clr>
        </p15:guide>
        <p15:guide id="18" pos="2640">
          <p15:clr>
            <a:srgbClr val="F26B43"/>
          </p15:clr>
        </p15:guide>
        <p15:guide id="19" pos="4992">
          <p15:clr>
            <a:srgbClr val="F26B43"/>
          </p15:clr>
        </p15:guide>
        <p15:guide id="20" orient="horz" pos="115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10641"/>
            <a:ext cx="10972800" cy="48361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801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0780" y="6400801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4160" y="6400801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13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729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960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2712" userDrawn="1">
          <p15:clr>
            <a:srgbClr val="F26B43"/>
          </p15:clr>
        </p15:guide>
        <p15:guide id="9" pos="50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8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28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28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31.png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image" Target="../media/image30.sv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29.png"/><Relationship Id="rId5" Type="http://schemas.openxmlformats.org/officeDocument/2006/relationships/tags" Target="../tags/tag11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image" Target="../media/image3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image" Target="../media/image35.png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image" Target="../media/image34.sv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image" Target="../media/image33.png"/><Relationship Id="rId5" Type="http://schemas.openxmlformats.org/officeDocument/2006/relationships/tags" Target="../tags/tag12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image" Target="../media/image36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tags" Target="../tags/tag130.xml"/><Relationship Id="rId7" Type="http://schemas.openxmlformats.org/officeDocument/2006/relationships/image" Target="../media/image3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37.pn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41.svg"/><Relationship Id="rId4" Type="http://schemas.openxmlformats.org/officeDocument/2006/relationships/tags" Target="../tags/tag131.xml"/><Relationship Id="rId9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slideLayout" Target="../slideLayouts/slideLayout17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42.jpe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slideLayout" Target="../slideLayouts/slideLayout22.xml"/><Relationship Id="rId5" Type="http://schemas.openxmlformats.org/officeDocument/2006/relationships/tags" Target="../tags/tag155.xml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image" Target="../media/image5.svg"/><Relationship Id="rId3" Type="http://schemas.openxmlformats.org/officeDocument/2006/relationships/tags" Target="../tags/tag22.xml"/><Relationship Id="rId21" Type="http://schemas.openxmlformats.org/officeDocument/2006/relationships/image" Target="../media/image8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4.png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8.xml"/><Relationship Id="rId20" Type="http://schemas.openxmlformats.org/officeDocument/2006/relationships/image" Target="../media/image7.sv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1.sv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10.png"/><Relationship Id="rId10" Type="http://schemas.openxmlformats.org/officeDocument/2006/relationships/tags" Target="../tags/tag29.xml"/><Relationship Id="rId19" Type="http://schemas.openxmlformats.org/officeDocument/2006/relationships/image" Target="../media/image6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3.jpe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12.jpeg"/><Relationship Id="rId5" Type="http://schemas.openxmlformats.org/officeDocument/2006/relationships/tags" Target="../tags/tag48.xml"/><Relationship Id="rId10" Type="http://schemas.openxmlformats.org/officeDocument/2006/relationships/slideLayout" Target="../slideLayouts/slideLayout25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slideLayout" Target="../slideLayouts/slideLayout5.xml"/><Relationship Id="rId18" Type="http://schemas.openxmlformats.org/officeDocument/2006/relationships/image" Target="../media/image18.png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image" Target="../media/image17.svg"/><Relationship Id="rId2" Type="http://schemas.openxmlformats.org/officeDocument/2006/relationships/tags" Target="../tags/tag65.xml"/><Relationship Id="rId16" Type="http://schemas.openxmlformats.org/officeDocument/2006/relationships/image" Target="../media/image16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image" Target="../media/image15.svg"/><Relationship Id="rId10" Type="http://schemas.openxmlformats.org/officeDocument/2006/relationships/tags" Target="../tags/tag73.xml"/><Relationship Id="rId19" Type="http://schemas.openxmlformats.org/officeDocument/2006/relationships/image" Target="../media/image19.sv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image" Target="../media/image22.png"/><Relationship Id="rId3" Type="http://schemas.openxmlformats.org/officeDocument/2006/relationships/tags" Target="../tags/tag78.xml"/><Relationship Id="rId21" Type="http://schemas.openxmlformats.org/officeDocument/2006/relationships/image" Target="../media/image25.svg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image" Target="../media/image21.svg"/><Relationship Id="rId2" Type="http://schemas.openxmlformats.org/officeDocument/2006/relationships/tags" Target="../tags/tag77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slideLayout" Target="../slideLayouts/slideLayout4.xml"/><Relationship Id="rId23" Type="http://schemas.openxmlformats.org/officeDocument/2006/relationships/image" Target="../media/image27.svg"/><Relationship Id="rId10" Type="http://schemas.openxmlformats.org/officeDocument/2006/relationships/tags" Target="../tags/tag85.xml"/><Relationship Id="rId19" Type="http://schemas.openxmlformats.org/officeDocument/2006/relationships/image" Target="../media/image23.svg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28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6F44109-3F87-FB89-B453-EFB02125A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82;p48">
            <a:extLst>
              <a:ext uri="{FF2B5EF4-FFF2-40B4-BE49-F238E27FC236}">
                <a16:creationId xmlns:a16="http://schemas.microsoft.com/office/drawing/2014/main" id="{BE5D760E-19AA-AC87-E260-53D8DE69538B}"/>
              </a:ext>
            </a:extLst>
          </p:cNvPr>
          <p:cNvSpPr/>
          <p:nvPr/>
        </p:nvSpPr>
        <p:spPr>
          <a:xfrm>
            <a:off x="10372139" y="4885453"/>
            <a:ext cx="1197769" cy="11977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/>
              <a:ea typeface="Hanken Grotesk Medium"/>
              <a:cs typeface="Hanken Grotesk Medium"/>
              <a:sym typeface="Hanken Grotesk Medium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25ADD7A-4D28-AB5E-EC4F-C120909EE68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249180" y="707193"/>
            <a:ext cx="1813809" cy="374017"/>
          </a:xfrm>
        </p:spPr>
        <p:txBody>
          <a:bodyPr>
            <a:noAutofit/>
          </a:bodyPr>
          <a:lstStyle/>
          <a:p>
            <a:r>
              <a:rPr lang="en-US" sz="4000" noProof="1">
                <a:solidFill>
                  <a:schemeClr val="bg1"/>
                </a:solidFill>
              </a:rPr>
              <a:t>PACTA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E2564DE-4ECD-BB6C-83EE-AE849481579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318478" y="1680152"/>
            <a:ext cx="7555043" cy="12142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96863" indent="-2857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50" indent="-2857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50" indent="-2857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50" indent="-2857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838" indent="-2857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 indent="0" algn="ctr">
              <a:buNone/>
            </a:pPr>
            <a:r>
              <a:rPr lang="es-ES" sz="4000" i="1" dirty="0">
                <a:solidFill>
                  <a:schemeClr val="bg1"/>
                </a:solidFill>
                <a:latin typeface="Arial" panose="020B0604020202020204" pitchFamily="34" charset="0"/>
              </a:rPr>
              <a:t>Plataforma de Automatización y Control de Contratos Empresariales</a:t>
            </a:r>
            <a:endParaRPr lang="en-US" sz="4000" noProof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27536BF-3D94-5386-FBD2-F31E04DCF13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062989" y="3429000"/>
            <a:ext cx="6066020" cy="5268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i="0" kern="1200" spc="0" normalizeH="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600" dirty="0">
                <a:solidFill>
                  <a:schemeClr val="bg1"/>
                </a:solidFill>
                <a:latin typeface="Arial" panose="020B0604020202020204" pitchFamily="34" charset="0"/>
              </a:rPr>
              <a:t>Gestión contractual eficiente, centralizada y operativa.</a:t>
            </a:r>
            <a:endParaRPr lang="en-US" sz="2000" noProof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47166EF-0E9C-DA2F-D450-655E5DD98C3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318478" y="4158518"/>
            <a:ext cx="7555043" cy="12142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i="0" kern="1200" spc="0" normalizeH="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2400" b="1" dirty="0">
                <a:solidFill>
                  <a:schemeClr val="bg1"/>
                </a:solidFill>
                <a:latin typeface="Arial" panose="020B0604020202020204" pitchFamily="34" charset="0"/>
              </a:rPr>
              <a:t>Jelvys Triana Castro</a:t>
            </a:r>
            <a:br>
              <a:rPr lang="es-ES" sz="24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s-ES" sz="2400" i="1" dirty="0">
                <a:solidFill>
                  <a:schemeClr val="bg1"/>
                </a:solidFill>
                <a:latin typeface="Arial" panose="020B0604020202020204" pitchFamily="34" charset="0"/>
              </a:rPr>
              <a:t>Jefe de Proyecto y Desarrollador</a:t>
            </a:r>
            <a:endParaRPr lang="en-US" sz="3200" noProof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CEC4D6B-D3E7-7B8D-0BBD-B8D64A2140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55" y="600075"/>
            <a:ext cx="657225" cy="6227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80208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753B16-6D13-D888-7E0E-8D6B1D2BD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56AB6A5-AA8A-6258-989C-BD666411907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98C11EF-BE56-D21B-677E-1FA606DA6E9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87400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Flujo de Proces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0A394B6-E830-68F2-9CEC-29207EDAA57D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2269266"/>
            <a:ext cx="3291840" cy="1618428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s-ES" sz="1400" noProof="1">
                <a:latin typeface="Arial" panose="020B0604020202020204" pitchFamily="34" charset="0"/>
              </a:rPr>
              <a:t>Se pueden agregar suplementos o modificaciones al contrato original de forma sencilla y organizada, manteniendo la trazabilidad de los cambio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BC940B1-FF2A-D131-300B-5E7DAD635765}"/>
              </a:ext>
            </a:extLst>
          </p:cNvPr>
          <p:cNvSpPr>
            <a:spLocks noGrp="1"/>
          </p:cNvSpPr>
          <p:nvPr>
            <p:ph type="body" idx="14"/>
            <p:custDataLst>
              <p:tags r:id="rId4"/>
            </p:custDataLst>
          </p:nvPr>
        </p:nvSpPr>
        <p:spPr>
          <a:xfrm>
            <a:off x="609601" y="1412241"/>
            <a:ext cx="3291840" cy="670559"/>
          </a:xfrm>
        </p:spPr>
        <p:txBody>
          <a:bodyPr>
            <a:normAutofit/>
          </a:bodyPr>
          <a:lstStyle/>
          <a:p>
            <a:r>
              <a:rPr lang="en-US" sz="1800" noProof="1">
                <a:solidFill>
                  <a:schemeClr val="accent1"/>
                </a:solidFill>
                <a:latin typeface="Arial" panose="020B0604020202020204" pitchFamily="34" charset="0"/>
              </a:rPr>
              <a:t>Adición de Suplemento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F5A7E11-2B6E-8404-5B50-9188F5CBA39C}"/>
              </a:ext>
            </a:extLst>
          </p:cNvPr>
          <p:cNvCxnSpPr>
            <a:cxnSpLocks/>
          </p:cNvCxnSpPr>
          <p:nvPr/>
        </p:nvCxnSpPr>
        <p:spPr>
          <a:xfrm>
            <a:off x="657729" y="2162707"/>
            <a:ext cx="3017520" cy="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E54AF60-5459-05E1-2518-4D831701D56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0E80783-F009-B309-4A2C-7690E81CFB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57" r="47735"/>
          <a:stretch/>
        </p:blipFill>
        <p:spPr>
          <a:xfrm>
            <a:off x="6629934" y="0"/>
            <a:ext cx="247120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7986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48146-686D-4D3C-CA82-8E1DE24A5F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B450D9E7-AAF2-BF9A-DAE8-1A759317388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DA060B9-CC89-C317-35EF-A6AA0086EB1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87400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Flujo de Proces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1EB0E5C-2C6E-4F51-63D8-8E98A238A423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2269266"/>
            <a:ext cx="3291840" cy="1618428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s-ES" sz="1400" noProof="1">
                <a:latin typeface="Arial" panose="020B0604020202020204" pitchFamily="34" charset="0"/>
              </a:rPr>
              <a:t>El sistema envía alertas y notificaciones automáticas para recordar fechas clave, vencimientos y acciones pendientes, mejorando la gestión proactiva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9FBDA39-87DF-5A45-99DE-7ADBCCEB96D0}"/>
              </a:ext>
            </a:extLst>
          </p:cNvPr>
          <p:cNvSpPr>
            <a:spLocks noGrp="1"/>
          </p:cNvSpPr>
          <p:nvPr>
            <p:ph type="body" idx="14"/>
            <p:custDataLst>
              <p:tags r:id="rId4"/>
            </p:custDataLst>
          </p:nvPr>
        </p:nvSpPr>
        <p:spPr>
          <a:xfrm>
            <a:off x="609601" y="1412241"/>
            <a:ext cx="3291840" cy="670559"/>
          </a:xfrm>
        </p:spPr>
        <p:txBody>
          <a:bodyPr>
            <a:normAutofit/>
          </a:bodyPr>
          <a:lstStyle/>
          <a:p>
            <a:r>
              <a:rPr lang="en-US" sz="1800" noProof="1">
                <a:solidFill>
                  <a:schemeClr val="accent1"/>
                </a:solidFill>
                <a:latin typeface="Arial" panose="020B0604020202020204" pitchFamily="34" charset="0"/>
              </a:rPr>
              <a:t>Alertas Automática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D716C6C-73B8-80F0-F85C-8BED572020E8}"/>
              </a:ext>
            </a:extLst>
          </p:cNvPr>
          <p:cNvCxnSpPr>
            <a:cxnSpLocks/>
          </p:cNvCxnSpPr>
          <p:nvPr/>
        </p:nvCxnSpPr>
        <p:spPr>
          <a:xfrm>
            <a:off x="657729" y="2162707"/>
            <a:ext cx="3017520" cy="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96A2EC9-7DF0-3CC6-C7CB-69B22D3B520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553E0D5-11B2-9BCB-0866-55B2BD2BBD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2" r="25439"/>
          <a:stretch/>
        </p:blipFill>
        <p:spPr>
          <a:xfrm>
            <a:off x="7197806" y="0"/>
            <a:ext cx="2246232" cy="770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7808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F125E-4602-C419-A91B-CE0A96C09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E7921717-93C9-F2C1-EAF5-8263CB64651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46FCE06-5994-ADC0-A556-429BEA34CA8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87400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Flujo de Proces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A2249F1-A7DA-E1AF-8B44-373FD1AF6C71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2269266"/>
            <a:ext cx="3291840" cy="1618428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s-ES" sz="1400" noProof="1">
                <a:latin typeface="Arial" panose="020B0604020202020204" pitchFamily="34" charset="0"/>
              </a:rPr>
              <a:t>El sistema facilita la búsqueda de contratos partiendo del criterio de búsqueda comparándolo con la base de datos y devolviendo el resultado, mejorando la búsqueda de contrato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DFDCCD-8143-D32A-5778-395A4B347E3E}"/>
              </a:ext>
            </a:extLst>
          </p:cNvPr>
          <p:cNvSpPr>
            <a:spLocks noGrp="1"/>
          </p:cNvSpPr>
          <p:nvPr>
            <p:ph type="body" idx="14"/>
            <p:custDataLst>
              <p:tags r:id="rId4"/>
            </p:custDataLst>
          </p:nvPr>
        </p:nvSpPr>
        <p:spPr>
          <a:xfrm>
            <a:off x="609601" y="1412241"/>
            <a:ext cx="3291840" cy="670559"/>
          </a:xfrm>
        </p:spPr>
        <p:txBody>
          <a:bodyPr>
            <a:normAutofit/>
          </a:bodyPr>
          <a:lstStyle/>
          <a:p>
            <a:r>
              <a:rPr lang="en-US" sz="1800" noProof="1">
                <a:solidFill>
                  <a:schemeClr val="accent1"/>
                </a:solidFill>
                <a:latin typeface="Arial" panose="020B0604020202020204" pitchFamily="34" charset="0"/>
              </a:rPr>
              <a:t>Buscar contrato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E37AE4D-E826-832C-E07A-8F3680668904}"/>
              </a:ext>
            </a:extLst>
          </p:cNvPr>
          <p:cNvCxnSpPr>
            <a:cxnSpLocks/>
          </p:cNvCxnSpPr>
          <p:nvPr/>
        </p:nvCxnSpPr>
        <p:spPr>
          <a:xfrm>
            <a:off x="657729" y="2162707"/>
            <a:ext cx="3017520" cy="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FA6F734E-9D02-9A86-16E2-C26F11598C4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CFA3E63-4E22-7262-16DE-D51AC4578F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33"/>
          <a:stretch/>
        </p:blipFill>
        <p:spPr>
          <a:xfrm>
            <a:off x="7072313" y="-1"/>
            <a:ext cx="2129372" cy="747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851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2E64D0-4370-85F3-EF4C-0B6CC84D5DB0}"/>
              </a:ext>
            </a:extLst>
          </p:cNvPr>
          <p:cNvSpPr/>
          <p:nvPr/>
        </p:nvSpPr>
        <p:spPr>
          <a:xfrm>
            <a:off x="-178" y="-1"/>
            <a:ext cx="4349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noProof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A3C79D-0541-BA11-F04E-40B9C2C258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31340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z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BD3BEF-3DDC-EFF6-04A3-542C6EABD07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21899" y="700740"/>
            <a:ext cx="3134061" cy="5440943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Dashboard &amp; Notificacio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5F11BD-1796-5EBC-FAC3-5CDD146B1139}"/>
              </a:ext>
            </a:extLst>
          </p:cNvPr>
          <p:cNvSpPr>
            <a:spLocks noGrp="1"/>
          </p:cNvSpPr>
          <p:nvPr>
            <p:ph sz="half" idx="14"/>
            <p:custDataLst>
              <p:tags r:id="rId3"/>
            </p:custDataLst>
          </p:nvPr>
        </p:nvSpPr>
        <p:spPr>
          <a:xfrm>
            <a:off x="6669741" y="468868"/>
            <a:ext cx="4912658" cy="2926080"/>
          </a:xfrm>
        </p:spPr>
        <p:txBody>
          <a:bodyPr anchor="t">
            <a:normAutofit/>
          </a:bodyPr>
          <a:lstStyle/>
          <a:p>
            <a:pPr marL="296863" indent="-2857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noProof="1">
                <a:solidFill>
                  <a:schemeClr val="tx2"/>
                </a:solidFill>
                <a:latin typeface="Arial" panose="020B0604020202020204" pitchFamily="34" charset="0"/>
              </a:rPr>
              <a:t>Visualización clara y centralizada de contratos activos y próximos a vencer.
Interfaz intuitiva que permite acceso rápido a detalles y acciones pendientes.
Reportes visuales para facilitar la toma de decisiones basada en datos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FE15B0-B4BD-0C40-EECE-D127CDC241DA}"/>
              </a:ext>
            </a:extLst>
          </p:cNvPr>
          <p:cNvSpPr>
            <a:spLocks noGrp="1"/>
          </p:cNvSpPr>
          <p:nvPr>
            <p:ph sz="half" idx="15"/>
            <p:custDataLst>
              <p:tags r:id="rId4"/>
            </p:custDataLst>
          </p:nvPr>
        </p:nvSpPr>
        <p:spPr>
          <a:xfrm>
            <a:off x="6669741" y="3474720"/>
            <a:ext cx="4912658" cy="2926080"/>
          </a:xfrm>
        </p:spPr>
        <p:txBody>
          <a:bodyPr anchor="t">
            <a:normAutofit/>
          </a:bodyPr>
          <a:lstStyle/>
          <a:p>
            <a:pPr marL="296863" indent="-2857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noProof="1">
                <a:solidFill>
                  <a:schemeClr val="tx2"/>
                </a:solidFill>
                <a:latin typeface="Arial" panose="020B0604020202020204" pitchFamily="34" charset="0"/>
              </a:rPr>
              <a:t>Alertas automáticas que notifican sobre fechas límite, renovaciones y suplementos.
Notificaciones configurables para adaptarse a las necesidades del usuario.
Alertas visibles desde cualquier dispositivo para no perder información importante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DAD59D-6660-E3CC-EBBD-8F9A58AAA134}"/>
              </a:ext>
            </a:extLst>
          </p:cNvPr>
          <p:cNvSpPr>
            <a:spLocks noGrp="1"/>
          </p:cNvSpPr>
          <p:nvPr>
            <p:ph type="body" idx="17"/>
            <p:custDataLst>
              <p:tags r:id="rId5"/>
            </p:custDataLst>
          </p:nvPr>
        </p:nvSpPr>
        <p:spPr>
          <a:xfrm>
            <a:off x="4855680" y="468867"/>
            <a:ext cx="1765267" cy="292608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noProof="1">
                <a:latin typeface="Arial" panose="020B0604020202020204" pitchFamily="34" charset="0"/>
              </a:rPr>
              <a:t>Dashboard centralizad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42DB6D4-ED85-3BE7-8A4B-9990F88085F9}"/>
              </a:ext>
            </a:extLst>
          </p:cNvPr>
          <p:cNvSpPr>
            <a:spLocks noGrp="1"/>
          </p:cNvSpPr>
          <p:nvPr>
            <p:ph type="body" idx="18"/>
            <p:custDataLst>
              <p:tags r:id="rId6"/>
            </p:custDataLst>
          </p:nvPr>
        </p:nvSpPr>
        <p:spPr>
          <a:xfrm>
            <a:off x="4855680" y="3474720"/>
            <a:ext cx="1765267" cy="292608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noProof="1">
                <a:latin typeface="Arial" panose="020B0604020202020204" pitchFamily="34" charset="0"/>
              </a:rPr>
              <a:t>Notificaciones automática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BF83028-B71F-D543-D00E-40F17FA1254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65250" y="542869"/>
            <a:ext cx="274320" cy="27432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E3399F0-D756-19DD-B624-146CDF75913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68800" y="3529647"/>
            <a:ext cx="274320" cy="27432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386B71-A298-AB77-C4FC-216AB1DF30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285747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2E64D0-4370-85F3-EF4C-0B6CC84D5DB0}"/>
              </a:ext>
            </a:extLst>
          </p:cNvPr>
          <p:cNvSpPr/>
          <p:nvPr/>
        </p:nvSpPr>
        <p:spPr>
          <a:xfrm>
            <a:off x="-177" y="-1"/>
            <a:ext cx="404505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noProof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A3C79D-0541-BA11-F04E-40B9C2C258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31340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tiv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BD3BEF-3DDC-EFF6-04A3-542C6EABD07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0"/>
            <a:ext cx="2946360" cy="5440943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Comparativa de Soluciones de Gestión de Contrat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5F11BD-1796-5EBC-FAC3-5CDD146B1139}"/>
              </a:ext>
            </a:extLst>
          </p:cNvPr>
          <p:cNvSpPr>
            <a:spLocks noGrp="1"/>
          </p:cNvSpPr>
          <p:nvPr>
            <p:ph sz="half" idx="14"/>
            <p:custDataLst>
              <p:tags r:id="rId3"/>
            </p:custDataLst>
          </p:nvPr>
        </p:nvSpPr>
        <p:spPr>
          <a:xfrm>
            <a:off x="6669741" y="468868"/>
            <a:ext cx="4912658" cy="2926080"/>
          </a:xfrm>
        </p:spPr>
        <p:txBody>
          <a:bodyPr anchor="t">
            <a:normAutofit/>
          </a:bodyPr>
          <a:lstStyle/>
          <a:p>
            <a:pPr marL="296863" indent="-2857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noProof="1">
                <a:solidFill>
                  <a:schemeClr val="tx2"/>
                </a:solidFill>
                <a:latin typeface="Arial" panose="020B0604020202020204" pitchFamily="34" charset="0"/>
              </a:rPr>
              <a:t>Centralización total de contratos
Trazabilidad completa
Operación offline
Notificaciones automáticas
Dashboard intuitivo para monitoreo en tiempo rea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FE15B0-B4BD-0C40-EECE-D127CDC241DA}"/>
              </a:ext>
            </a:extLst>
          </p:cNvPr>
          <p:cNvSpPr>
            <a:spLocks noGrp="1"/>
          </p:cNvSpPr>
          <p:nvPr>
            <p:ph sz="half" idx="15"/>
            <p:custDataLst>
              <p:tags r:id="rId4"/>
            </p:custDataLst>
          </p:nvPr>
        </p:nvSpPr>
        <p:spPr>
          <a:xfrm>
            <a:off x="6669741" y="3474720"/>
            <a:ext cx="4912658" cy="2926080"/>
          </a:xfrm>
        </p:spPr>
        <p:txBody>
          <a:bodyPr anchor="t">
            <a:normAutofit lnSpcReduction="10000"/>
          </a:bodyPr>
          <a:lstStyle/>
          <a:p>
            <a:pPr marL="296863" indent="-28575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noProof="1">
                <a:solidFill>
                  <a:schemeClr val="tx2"/>
                </a:solidFill>
                <a:latin typeface="Arial" panose="020B0604020202020204" pitchFamily="34" charset="0"/>
              </a:rPr>
              <a:t>Procesos manuales lentos y alto riesgo de errores (Gestión Tradicional)
Dificultad para mantener el control y seguimiento (Gestión Tradicional)
Falta de acceso remoto o en tiempo real (Gestión Tradicional)
Acceso remoto pero dependiente de conexión a internet (Apps Web)
Limitaciones en integración y personalización para gestión avanzada (Apps Web)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DAD59D-6660-E3CC-EBBD-8F9A58AAA134}"/>
              </a:ext>
            </a:extLst>
          </p:cNvPr>
          <p:cNvSpPr>
            <a:spLocks noGrp="1"/>
          </p:cNvSpPr>
          <p:nvPr>
            <p:ph type="body" idx="17"/>
            <p:custDataLst>
              <p:tags r:id="rId5"/>
            </p:custDataLst>
          </p:nvPr>
        </p:nvSpPr>
        <p:spPr>
          <a:xfrm>
            <a:off x="4855680" y="468867"/>
            <a:ext cx="1765267" cy="292608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noProof="1">
                <a:latin typeface="Arial" panose="020B0604020202020204" pitchFamily="34" charset="0"/>
              </a:rPr>
              <a:t>Ventajas de PACT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42DB6D4-ED85-3BE7-8A4B-9990F88085F9}"/>
              </a:ext>
            </a:extLst>
          </p:cNvPr>
          <p:cNvSpPr>
            <a:spLocks noGrp="1"/>
          </p:cNvSpPr>
          <p:nvPr>
            <p:ph type="body" idx="18"/>
            <p:custDataLst>
              <p:tags r:id="rId6"/>
            </p:custDataLst>
          </p:nvPr>
        </p:nvSpPr>
        <p:spPr>
          <a:xfrm>
            <a:off x="4855680" y="3474720"/>
            <a:ext cx="1765267" cy="292608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noProof="1">
                <a:latin typeface="Arial" panose="020B0604020202020204" pitchFamily="34" charset="0"/>
              </a:rPr>
              <a:t>Limitaciones de Alternativa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BF83028-B71F-D543-D00E-40F17FA1254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65250" y="542869"/>
            <a:ext cx="274320" cy="27432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E3399F0-D756-19DD-B624-146CDF75913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68800" y="3529647"/>
            <a:ext cx="274320" cy="27432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386B71-A298-AB77-C4FC-216AB1DF307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6680900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037A2-227D-B015-7B5F-CCADC95A3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46D5BB2-7AA3-94B4-77CB-F5A5D1846B2C}"/>
              </a:ext>
            </a:extLst>
          </p:cNvPr>
          <p:cNvSpPr/>
          <p:nvPr/>
        </p:nvSpPr>
        <p:spPr>
          <a:xfrm>
            <a:off x="-177" y="-1"/>
            <a:ext cx="404505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noProof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3B7C00-3149-3F7B-06B8-A95EE61341D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31340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o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855679-0CA9-8B57-2FE2-37A7CE25088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31520" y="700740"/>
            <a:ext cx="2824440" cy="5440943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Evaluación del impacto económic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132C1D-AE61-802A-BC1A-C2AABC32F60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pic>
        <p:nvPicPr>
          <p:cNvPr id="19" name="Picture 3">
            <a:extLst>
              <a:ext uri="{FF2B5EF4-FFF2-40B4-BE49-F238E27FC236}">
                <a16:creationId xmlns:a16="http://schemas.microsoft.com/office/drawing/2014/main" id="{2A05DF4D-ADFD-CB55-7149-81AAEDB588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8560" y="952865"/>
            <a:ext cx="7577133" cy="4459638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3ED03380-44AB-44CF-3BC1-2D4BD8A09838}"/>
              </a:ext>
            </a:extLst>
          </p:cNvPr>
          <p:cNvSpPr txBox="1"/>
          <p:nvPr/>
        </p:nvSpPr>
        <p:spPr>
          <a:xfrm>
            <a:off x="5815997" y="230311"/>
            <a:ext cx="51650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ción</a:t>
            </a:r>
            <a:r>
              <a:rPr lang="es-ES" sz="2400" dirty="0"/>
              <a:t> </a:t>
            </a:r>
            <a:r>
              <a:rPr lang="es-E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ahorro por tipo de beneficio:</a:t>
            </a:r>
            <a:endParaRPr lang="es-ES" sz="2400" dirty="0"/>
          </a:p>
        </p:txBody>
      </p:sp>
      <p:sp>
        <p:nvSpPr>
          <p:cNvPr id="25" name="Content Placeholder 7">
            <a:extLst>
              <a:ext uri="{FF2B5EF4-FFF2-40B4-BE49-F238E27FC236}">
                <a16:creationId xmlns:a16="http://schemas.microsoft.com/office/drawing/2014/main" id="{0A0AAAAF-74E4-0B94-2867-E0BF708B369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832599" y="6000690"/>
            <a:ext cx="532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800" dirty="0"/>
              <a:t>Ahorro total mensual estimado: </a:t>
            </a:r>
            <a:r>
              <a:rPr lang="es-ES" dirty="0"/>
              <a:t>33,384</a:t>
            </a:r>
            <a:r>
              <a:rPr lang="es-ES" sz="1800" dirty="0"/>
              <a:t> CUP</a:t>
            </a:r>
          </a:p>
        </p:txBody>
      </p:sp>
      <p:pic>
        <p:nvPicPr>
          <p:cNvPr id="29" name="Gráfico 28" descr="Monedas">
            <a:extLst>
              <a:ext uri="{FF2B5EF4-FFF2-40B4-BE49-F238E27FC236}">
                <a16:creationId xmlns:a16="http://schemas.microsoft.com/office/drawing/2014/main" id="{513701DE-68E8-3389-58A2-84CB2E01BB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00643" y="5985446"/>
            <a:ext cx="415354" cy="415354"/>
          </a:xfrm>
          <a:prstGeom prst="rect">
            <a:avLst/>
          </a:prstGeom>
        </p:spPr>
      </p:pic>
      <p:pic>
        <p:nvPicPr>
          <p:cNvPr id="31" name="Gráfico 30" descr="Gráfico circular">
            <a:extLst>
              <a:ext uri="{FF2B5EF4-FFF2-40B4-BE49-F238E27FC236}">
                <a16:creationId xmlns:a16="http://schemas.microsoft.com/office/drawing/2014/main" id="{7D4949A5-EF69-D888-22A6-D11329363F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4041" y="255320"/>
            <a:ext cx="448558" cy="44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0013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A32FA8-3FB8-30CE-AE82-95537BFDDB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360F622-8CEB-DB21-8B2E-E0843DF53D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nograma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FEBA664-4A16-8CAF-C5D0-57F963596D3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92480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lanificación del Proyect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EB88A71-F9DB-2845-840A-48F1FBC85D3B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3939902"/>
            <a:ext cx="2926080" cy="1869812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400" dirty="0">
                <a:latin typeface="Arial" panose="020B0604020202020204" pitchFamily="34" charset="0"/>
              </a:rPr>
              <a:t>Entrega del Producto Mínimo Viable con funcionalidades básicas para validación inicial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F308DC6-D22C-25FF-1FEC-4B115388DF2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312920" y="3939902"/>
            <a:ext cx="2926080" cy="1869812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400" dirty="0">
                <a:latin typeface="Arial" panose="020B0604020202020204" pitchFamily="34" charset="0"/>
              </a:rPr>
              <a:t>Lanzamiento de la versión beta con mejoras, incorporación de feedback y pruebas ampliadas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449FFBD-BB36-C2FC-567B-EFBC8D828F58}"/>
              </a:ext>
            </a:extLst>
          </p:cNvPr>
          <p:cNvSpPr>
            <a:spLocks noGrp="1"/>
          </p:cNvSpPr>
          <p:nvPr>
            <p:ph sz="half" idx="13"/>
            <p:custDataLst>
              <p:tags r:id="rId5"/>
            </p:custDataLst>
          </p:nvPr>
        </p:nvSpPr>
        <p:spPr>
          <a:xfrm>
            <a:off x="8016240" y="3939902"/>
            <a:ext cx="2926080" cy="1869812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400" dirty="0">
                <a:latin typeface="Arial" panose="020B0604020202020204" pitchFamily="34" charset="0"/>
              </a:rPr>
              <a:t>Lanzamiento oficial con todas las funcionalidades, optimizaciones y soporte completo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DE07D60-25C3-5129-46FA-97481CCA5B76}"/>
              </a:ext>
            </a:extLst>
          </p:cNvPr>
          <p:cNvSpPr>
            <a:spLocks noGrp="1"/>
          </p:cNvSpPr>
          <p:nvPr>
            <p:ph type="body" idx="14"/>
            <p:custDataLst>
              <p:tags r:id="rId6"/>
            </p:custDataLst>
          </p:nvPr>
        </p:nvSpPr>
        <p:spPr>
          <a:xfrm>
            <a:off x="609600" y="3273826"/>
            <a:ext cx="2926080" cy="591086"/>
          </a:xfrm>
        </p:spPr>
        <p:txBody>
          <a:bodyPr anchor="t">
            <a:norm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</a:rPr>
              <a:t>MVP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4CEE1FB-A368-1D48-5C92-617373D053F6}"/>
              </a:ext>
            </a:extLst>
          </p:cNvPr>
          <p:cNvSpPr>
            <a:spLocks noGrp="1"/>
          </p:cNvSpPr>
          <p:nvPr>
            <p:ph type="body" idx="15"/>
            <p:custDataLst>
              <p:tags r:id="rId7"/>
            </p:custDataLst>
          </p:nvPr>
        </p:nvSpPr>
        <p:spPr>
          <a:xfrm>
            <a:off x="4312920" y="3273826"/>
            <a:ext cx="2926080" cy="591086"/>
          </a:xfrm>
        </p:spPr>
        <p:txBody>
          <a:bodyPr anchor="t">
            <a:normAutofit/>
          </a:bodyPr>
          <a:lstStyle/>
          <a:p>
            <a:r>
              <a:rPr lang="en-US" sz="1800">
                <a:solidFill>
                  <a:schemeClr val="tx2"/>
                </a:solidFill>
                <a:latin typeface="Arial" panose="020B0604020202020204" pitchFamily="34" charset="0"/>
              </a:rPr>
              <a:t>Versión Bet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1D0FD7-BE8C-A8FC-46B9-F1905CB20573}"/>
              </a:ext>
            </a:extLst>
          </p:cNvPr>
          <p:cNvSpPr>
            <a:spLocks noGrp="1"/>
          </p:cNvSpPr>
          <p:nvPr>
            <p:ph type="body" idx="16"/>
            <p:custDataLst>
              <p:tags r:id="rId8"/>
            </p:custDataLst>
          </p:nvPr>
        </p:nvSpPr>
        <p:spPr>
          <a:xfrm>
            <a:off x="8016240" y="3273826"/>
            <a:ext cx="2926080" cy="591086"/>
          </a:xfrm>
        </p:spPr>
        <p:txBody>
          <a:bodyPr anchor="t">
            <a:normAutofit/>
          </a:bodyPr>
          <a:lstStyle/>
          <a:p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</a:rPr>
              <a:t>Versión Fin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F33F554-44EB-7BA8-1734-8A414A3E4E6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2773B8B-72E0-B2CA-9EAF-A3BA43182F2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9600" y="2773086"/>
            <a:ext cx="2926080" cy="4813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</a:rPr>
              <a:t>Jun 2025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C44BD612-1B63-ACAA-A0FD-100361A3D4B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312920" y="2773086"/>
            <a:ext cx="2926080" cy="4813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</a:rPr>
              <a:t>Sep 2025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9970654-00F5-777F-6A5D-E356ED8BA1C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016240" y="2773086"/>
            <a:ext cx="2926080" cy="4813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>
                <a:solidFill>
                  <a:schemeClr val="tx2"/>
                </a:solidFill>
                <a:latin typeface="Arial" panose="020B0604020202020204" pitchFamily="34" charset="0"/>
              </a:rPr>
              <a:t>Dic</a:t>
            </a:r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</a:rPr>
              <a:t> 2025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CF3120D-A9FF-C46D-C665-51DBEDBCC7F1}"/>
              </a:ext>
            </a:extLst>
          </p:cNvPr>
          <p:cNvGrpSpPr/>
          <p:nvPr/>
        </p:nvGrpSpPr>
        <p:grpSpPr>
          <a:xfrm>
            <a:off x="509690" y="1738020"/>
            <a:ext cx="594360" cy="992683"/>
            <a:chOff x="486243" y="1741836"/>
            <a:chExt cx="594360" cy="992683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B7423C5-FAE6-DA6F-0629-F0F5766AD9AF}"/>
                </a:ext>
              </a:extLst>
            </p:cNvPr>
            <p:cNvSpPr/>
            <p:nvPr/>
          </p:nvSpPr>
          <p:spPr>
            <a:xfrm>
              <a:off x="486243" y="1741836"/>
              <a:ext cx="594360" cy="594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4EA6E94-909C-5C8E-EB29-5A5BBE1FD005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685800"/>
            </a:xfrm>
            <a:prstGeom prst="line">
              <a:avLst/>
            </a:prstGeom>
            <a:ln w="12700">
              <a:solidFill>
                <a:schemeClr val="tx2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14C2B71-E1D8-FC67-25CF-B18CA5DECB56}"/>
              </a:ext>
            </a:extLst>
          </p:cNvPr>
          <p:cNvGrpSpPr/>
          <p:nvPr/>
        </p:nvGrpSpPr>
        <p:grpSpPr>
          <a:xfrm>
            <a:off x="4214183" y="1726297"/>
            <a:ext cx="594360" cy="992683"/>
            <a:chOff x="486243" y="1741836"/>
            <a:chExt cx="594360" cy="992683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EA0A805-4E03-F24E-28B8-B9C5F28FE774}"/>
                </a:ext>
              </a:extLst>
            </p:cNvPr>
            <p:cNvSpPr/>
            <p:nvPr/>
          </p:nvSpPr>
          <p:spPr>
            <a:xfrm>
              <a:off x="486243" y="1741836"/>
              <a:ext cx="594360" cy="594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C8CF044-C297-2BB5-ADEB-D9BB65B4BE26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685800"/>
            </a:xfrm>
            <a:prstGeom prst="line">
              <a:avLst/>
            </a:prstGeom>
            <a:ln w="12700">
              <a:solidFill>
                <a:schemeClr val="tx2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89C85D0-4257-E3B1-869C-6CCD2E91CD2D}"/>
              </a:ext>
            </a:extLst>
          </p:cNvPr>
          <p:cNvGrpSpPr/>
          <p:nvPr/>
        </p:nvGrpSpPr>
        <p:grpSpPr>
          <a:xfrm>
            <a:off x="7918676" y="1738020"/>
            <a:ext cx="594360" cy="992683"/>
            <a:chOff x="486243" y="1741836"/>
            <a:chExt cx="594360" cy="992683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A4B124E-ABC8-A606-D147-9BAADF9D1670}"/>
                </a:ext>
              </a:extLst>
            </p:cNvPr>
            <p:cNvSpPr/>
            <p:nvPr/>
          </p:nvSpPr>
          <p:spPr>
            <a:xfrm>
              <a:off x="486243" y="1741836"/>
              <a:ext cx="594360" cy="5943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3519F09-61E9-1C53-E721-5FC4AFED4232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685800"/>
            </a:xfrm>
            <a:prstGeom prst="line">
              <a:avLst/>
            </a:prstGeom>
            <a:ln w="12700">
              <a:solidFill>
                <a:schemeClr val="tx2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0805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F21EAD-1166-AF46-6302-EA667EBC1B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C42648-395F-37B8-130F-C6CF02D205B0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4634906" y="1456595"/>
            <a:ext cx="7099352" cy="528736"/>
          </a:xfrm>
        </p:spPr>
        <p:txBody>
          <a:bodyPr>
            <a:normAutofit fontScale="85000" lnSpcReduction="10000"/>
          </a:bodyPr>
          <a:lstStyle/>
          <a:p>
            <a:r>
              <a:rPr lang="en-US" noProof="1">
                <a:solidFill>
                  <a:schemeClr val="tx1"/>
                </a:solidFill>
                <a:latin typeface="Arial" panose="020B0604020202020204" pitchFamily="34" charset="0"/>
              </a:rPr>
              <a:t>Principales riesgos y planes de contingencia asociado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342218-6A25-9EB9-4637-5317A9ED4C31}"/>
              </a:ext>
            </a:extLst>
          </p:cNvPr>
          <p:cNvSpPr>
            <a:spLocks noGrp="1"/>
          </p:cNvSpPr>
          <p:nvPr>
            <p:ph type="body" sz="quarter" idx="3"/>
            <p:custDataLst>
              <p:tags r:id="rId3"/>
            </p:custDataLst>
          </p:nvPr>
        </p:nvSpPr>
        <p:spPr>
          <a:xfrm>
            <a:off x="457200" y="1456595"/>
            <a:ext cx="3810001" cy="528736"/>
          </a:xfrm>
        </p:spPr>
        <p:txBody>
          <a:bodyPr>
            <a:normAutofit fontScale="85000" lnSpcReduction="10000"/>
          </a:bodyPr>
          <a:lstStyle/>
          <a:p>
            <a:r>
              <a:rPr lang="en-US" noProof="1">
                <a:solidFill>
                  <a:schemeClr val="tx1"/>
                </a:solidFill>
                <a:latin typeface="Arial" panose="020B0604020202020204" pitchFamily="34" charset="0"/>
              </a:rPr>
              <a:t>Análisis y Plan de Contingencia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472129C-7AD8-A857-B3C7-D0EB7A43E307}"/>
              </a:ext>
            </a:extLst>
          </p:cNvPr>
          <p:cNvSpPr>
            <a:spLocks noGrp="1"/>
          </p:cNvSpPr>
          <p:nvPr>
            <p:ph sz="quarter" idx="4"/>
            <p:custDataLst>
              <p:tags r:id="rId4"/>
            </p:custDataLst>
          </p:nvPr>
        </p:nvSpPr>
        <p:spPr>
          <a:xfrm>
            <a:off x="457200" y="2085124"/>
            <a:ext cx="3810001" cy="3983603"/>
          </a:xfrm>
          <a:noFill/>
        </p:spPr>
        <p:txBody>
          <a:bodyPr vert="horz" lIns="91440" tIns="45720" rIns="121920" bIns="60960" rtlCol="0">
            <a:normAutofit fontScale="70000" lnSpcReduction="20000"/>
          </a:bodyPr>
          <a:lstStyle/>
          <a:p>
            <a:pPr>
              <a:lnSpc>
                <a:spcPts val="2200"/>
              </a:lnSpc>
              <a:buClr>
                <a:schemeClr val="accent1"/>
              </a:buClr>
            </a:pPr>
            <a:r>
              <a:rPr lang="en-US" noProof="1">
                <a:latin typeface="Arial" panose="020B0604020202020204" pitchFamily="34" charset="0"/>
              </a:rPr>
              <a:t>Riesgo: Retrasos en el desarrollo. Contingencia: Implementar metodologías ágiles y revisiones periódicas.
Riesgo: Fallos en la integración tecnológica. Contingencia: Realizar pruebas integrales y contar con soporte técnico especializado.
Riesgo: Baja adopción por usuarios. Contingencia: Capacitación continua y mejora de la interfaz basada en feedback.
Riesgo: Vulnerabilidades de seguridad. Contingencia: Auditorías regulares y uso de tecnologías de encriptación avanzadas.</a:t>
            </a:r>
          </a:p>
        </p:txBody>
      </p:sp>
      <p:graphicFrame>
        <p:nvGraphicFramePr>
          <p:cNvPr id="11" name="Content Placeholder 8">
            <a:extLst>
              <a:ext uri="{FF2B5EF4-FFF2-40B4-BE49-F238E27FC236}">
                <a16:creationId xmlns:a16="http://schemas.microsoft.com/office/drawing/2014/main" id="{1B039036-97CE-F745-68A4-CD512DF5205E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93411008"/>
              </p:ext>
            </p:extLst>
          </p:nvPr>
        </p:nvGraphicFramePr>
        <p:xfrm>
          <a:off x="4610100" y="2085125"/>
          <a:ext cx="7124700" cy="4005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F9FE397-EB68-EA26-A3EC-19608FEA8FB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57200" y="731520"/>
            <a:ext cx="11125200" cy="609600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Riesgos y Contingencias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002671EC-EE4A-3A53-FB77-7DBA9C5BC7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9600" y="373414"/>
            <a:ext cx="3814762" cy="30777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en-US"/>
            </a:defPPr>
            <a:lvl1pPr indent="0" defTabSz="914377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400" b="0" i="0" spc="0" normalizeH="0" baseline="0">
                <a:solidFill>
                  <a:schemeClr val="accent1"/>
                </a:solidFill>
              </a:defRPr>
            </a:lvl1pPr>
            <a:lvl2pPr marL="6286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2pPr>
            <a:lvl3pPr marL="10858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3pPr>
            <a:lvl4pPr marL="15430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4pPr>
            <a:lvl5pPr marL="2001838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Análisi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A2D7203-8CE8-088B-5034-527B40A211C8}"/>
              </a:ext>
            </a:extLst>
          </p:cNvPr>
          <p:cNvSpPr/>
          <p:nvPr/>
        </p:nvSpPr>
        <p:spPr>
          <a:xfrm>
            <a:off x="503682" y="481583"/>
            <a:ext cx="91440" cy="914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6864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7166E7A-014E-6131-519E-AB49468627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780;p82">
            <a:extLst>
              <a:ext uri="{FF2B5EF4-FFF2-40B4-BE49-F238E27FC236}">
                <a16:creationId xmlns:a16="http://schemas.microsoft.com/office/drawing/2014/main" id="{2990854A-2557-D67C-23D3-F32BB6CB5EDB}"/>
              </a:ext>
            </a:extLst>
          </p:cNvPr>
          <p:cNvPicPr preferRelativeResize="0"/>
          <p:nvPr>
            <p:custDataLst>
              <p:tags r:id="rId2"/>
            </p:custDataLst>
          </p:nvPr>
        </p:nvPicPr>
        <p:blipFill rotWithShape="1">
          <a:blip r:embed="rId1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41843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777;p82">
            <a:extLst>
              <a:ext uri="{FF2B5EF4-FFF2-40B4-BE49-F238E27FC236}">
                <a16:creationId xmlns:a16="http://schemas.microsoft.com/office/drawing/2014/main" id="{F483FD50-3739-E94C-27F7-D526B97C77D8}"/>
              </a:ext>
            </a:extLst>
          </p:cNvPr>
          <p:cNvSpPr/>
          <p:nvPr/>
        </p:nvSpPr>
        <p:spPr>
          <a:xfrm>
            <a:off x="3244224" y="1420712"/>
            <a:ext cx="307776" cy="3077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/>
              <a:ea typeface="Hanken Grotesk Medium"/>
              <a:cs typeface="Hanken Grotesk Medium"/>
              <a:sym typeface="Hanken Grotesk Medium"/>
            </a:endParaRPr>
          </a:p>
        </p:txBody>
      </p:sp>
      <p:sp>
        <p:nvSpPr>
          <p:cNvPr id="8" name="Google Shape;777;p82">
            <a:extLst>
              <a:ext uri="{FF2B5EF4-FFF2-40B4-BE49-F238E27FC236}">
                <a16:creationId xmlns:a16="http://schemas.microsoft.com/office/drawing/2014/main" id="{63EBF9F3-F955-E65F-1A0A-0F9B4812975C}"/>
              </a:ext>
            </a:extLst>
          </p:cNvPr>
          <p:cNvSpPr/>
          <p:nvPr/>
        </p:nvSpPr>
        <p:spPr>
          <a:xfrm>
            <a:off x="3244224" y="3028532"/>
            <a:ext cx="307776" cy="3077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/>
              <a:ea typeface="Hanken Grotesk Medium"/>
              <a:cs typeface="Hanken Grotesk Medium"/>
              <a:sym typeface="Hanken Grotesk Medium"/>
            </a:endParaRPr>
          </a:p>
        </p:txBody>
      </p:sp>
      <p:sp>
        <p:nvSpPr>
          <p:cNvPr id="9" name="Google Shape;777;p82">
            <a:extLst>
              <a:ext uri="{FF2B5EF4-FFF2-40B4-BE49-F238E27FC236}">
                <a16:creationId xmlns:a16="http://schemas.microsoft.com/office/drawing/2014/main" id="{14E8B569-2D80-4C6D-146B-27C3E83D7827}"/>
              </a:ext>
            </a:extLst>
          </p:cNvPr>
          <p:cNvSpPr/>
          <p:nvPr/>
        </p:nvSpPr>
        <p:spPr>
          <a:xfrm>
            <a:off x="3244224" y="4636352"/>
            <a:ext cx="307776" cy="3077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w Cen MT" panose="020B0602020104020603"/>
              <a:ea typeface="Hanken Grotesk Medium"/>
              <a:cs typeface="Hanken Grotesk Medium"/>
              <a:sym typeface="Hanken Grotesk Medium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6DB340B-A4A7-1EB4-E476-199B65322F3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Conclusiones y Próximos Pasos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A103ACA-CA7F-67F5-C474-5DA7AF95B11A}"/>
              </a:ext>
            </a:extLst>
          </p:cNvPr>
          <p:cNvSpPr>
            <a:spLocks noGrp="1"/>
          </p:cNvSpPr>
          <p:nvPr>
            <p:ph sz="half" idx="14"/>
            <p:custDataLst>
              <p:tags r:id="rId4"/>
            </p:custDataLst>
          </p:nvPr>
        </p:nvSpPr>
        <p:spPr>
          <a:xfrm>
            <a:off x="4229102" y="1761692"/>
            <a:ext cx="7353298" cy="1188720"/>
          </a:xfrm>
        </p:spPr>
        <p:txBody>
          <a:bodyPr anchor="t">
            <a:normAutofit/>
          </a:bodyPr>
          <a:lstStyle/>
          <a:p>
            <a:r>
              <a:rPr lang="en-US" sz="1600" noProof="1">
                <a:latin typeface="Arial" panose="020B0604020202020204" pitchFamily="34" charset="0"/>
              </a:rPr>
              <a:t>PACTA automatiza y centraliza la gestión de contratos, aumentando la productividad y seguridad.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1744ABE9-63C2-C977-1830-BE5F2329CA51}"/>
              </a:ext>
            </a:extLst>
          </p:cNvPr>
          <p:cNvSpPr>
            <a:spLocks noGrp="1"/>
          </p:cNvSpPr>
          <p:nvPr>
            <p:ph sz="half" idx="15"/>
            <p:custDataLst>
              <p:tags r:id="rId5"/>
            </p:custDataLst>
          </p:nvPr>
        </p:nvSpPr>
        <p:spPr>
          <a:xfrm>
            <a:off x="4229102" y="3388451"/>
            <a:ext cx="7353298" cy="1188720"/>
          </a:xfrm>
        </p:spPr>
        <p:txBody>
          <a:bodyPr anchor="t">
            <a:normAutofit/>
          </a:bodyPr>
          <a:lstStyle/>
          <a:p>
            <a:r>
              <a:rPr lang="en-US" sz="1600" noProof="1">
                <a:latin typeface="Arial" panose="020B0604020202020204" pitchFamily="34" charset="0"/>
              </a:rPr>
              <a:t>Invitamos a adoptar PACTA para transformar la forma en que su empresa maneja contratos.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26BA183B-B4A9-E375-56AC-FD2949B516DF}"/>
              </a:ext>
            </a:extLst>
          </p:cNvPr>
          <p:cNvSpPr>
            <a:spLocks noGrp="1"/>
          </p:cNvSpPr>
          <p:nvPr>
            <p:ph sz="half" idx="16"/>
            <p:custDataLst>
              <p:tags r:id="rId6"/>
            </p:custDataLst>
          </p:nvPr>
        </p:nvSpPr>
        <p:spPr>
          <a:xfrm>
            <a:off x="4229102" y="4977810"/>
            <a:ext cx="7353298" cy="1188720"/>
          </a:xfrm>
        </p:spPr>
        <p:txBody>
          <a:bodyPr anchor="t">
            <a:normAutofit/>
          </a:bodyPr>
          <a:lstStyle/>
          <a:p>
            <a:r>
              <a:rPr lang="en-US" sz="1600" noProof="1">
                <a:latin typeface="Arial" panose="020B0604020202020204" pitchFamily="34" charset="0"/>
              </a:rPr>
              <a:t>Contacte con nuestro equipo para una demostración personalizada y plan de implementación. Estamos listos para acompañarle en cada paso hacia una gestión contractual eficiente y sin errores.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8FFB747-A533-A2F7-46AE-F467BA6A3794}"/>
              </a:ext>
            </a:extLst>
          </p:cNvPr>
          <p:cNvSpPr>
            <a:spLocks noGrp="1"/>
          </p:cNvSpPr>
          <p:nvPr>
            <p:ph type="body" idx="18"/>
            <p:custDataLst>
              <p:tags r:id="rId7"/>
            </p:custDataLst>
          </p:nvPr>
        </p:nvSpPr>
        <p:spPr>
          <a:xfrm>
            <a:off x="4229100" y="2996365"/>
            <a:ext cx="7353299" cy="371943"/>
          </a:xfrm>
        </p:spPr>
        <p:txBody>
          <a:bodyPr>
            <a:normAutofit/>
          </a:bodyPr>
          <a:lstStyle/>
          <a:p>
            <a:r>
              <a:rPr lang="en-US" noProof="1">
                <a:solidFill>
                  <a:schemeClr val="accent1"/>
                </a:solidFill>
                <a:latin typeface="Arial" panose="020B0604020202020204" pitchFamily="34" charset="0"/>
              </a:rPr>
              <a:t>Automatización y Centralizació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FBD8C5-B6BA-D818-E5CB-E1CFAA89125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8"/>
            </p:custDataLst>
          </p:nvPr>
        </p:nvSpPr>
        <p:spPr/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Cier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793E12F-0648-3598-37A5-0FFED184D0FE}"/>
              </a:ext>
            </a:extLst>
          </p:cNvPr>
          <p:cNvSpPr>
            <a:spLocks noGrp="1"/>
          </p:cNvSpPr>
          <p:nvPr>
            <p:ph type="body" idx="19"/>
            <p:custDataLst>
              <p:tags r:id="rId9"/>
            </p:custDataLst>
          </p:nvPr>
        </p:nvSpPr>
        <p:spPr>
          <a:xfrm>
            <a:off x="4229100" y="1388629"/>
            <a:ext cx="7353299" cy="371943"/>
          </a:xfrm>
        </p:spPr>
        <p:txBody>
          <a:bodyPr>
            <a:normAutofit/>
          </a:bodyPr>
          <a:lstStyle/>
          <a:p>
            <a:r>
              <a:rPr lang="en-US" noProof="1">
                <a:solidFill>
                  <a:schemeClr val="accent1"/>
                </a:solidFill>
                <a:latin typeface="Arial" panose="020B0604020202020204" pitchFamily="34" charset="0"/>
              </a:rPr>
              <a:t>Invitación a Adoptar PACTA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E81437D-4B21-F633-D97F-B72E329A986D}"/>
              </a:ext>
            </a:extLst>
          </p:cNvPr>
          <p:cNvSpPr>
            <a:spLocks noGrp="1"/>
          </p:cNvSpPr>
          <p:nvPr>
            <p:ph type="body" idx="20"/>
            <p:custDataLst>
              <p:tags r:id="rId10"/>
            </p:custDataLst>
          </p:nvPr>
        </p:nvSpPr>
        <p:spPr>
          <a:xfrm>
            <a:off x="4229100" y="4605867"/>
            <a:ext cx="7353299" cy="371943"/>
          </a:xfrm>
        </p:spPr>
        <p:txBody>
          <a:bodyPr>
            <a:normAutofit/>
          </a:bodyPr>
          <a:lstStyle/>
          <a:p>
            <a:r>
              <a:rPr lang="en-US" noProof="1">
                <a:solidFill>
                  <a:schemeClr val="accent1"/>
                </a:solidFill>
                <a:latin typeface="Arial" panose="020B0604020202020204" pitchFamily="34" charset="0"/>
              </a:rPr>
              <a:t>Contacto y Acompañamiento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B479C1E-A864-73A8-42B8-DBE345356B52}"/>
              </a:ext>
            </a:extLst>
          </p:cNvPr>
          <p:cNvSpPr/>
          <p:nvPr/>
        </p:nvSpPr>
        <p:spPr>
          <a:xfrm>
            <a:off x="503682" y="481583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875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9DD04C-4F3D-E86B-39D7-C41A6EF31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16A16369-91A5-5EA3-4CF3-9BA259CDB345}"/>
              </a:ext>
            </a:extLst>
          </p:cNvPr>
          <p:cNvSpPr/>
          <p:nvPr/>
        </p:nvSpPr>
        <p:spPr>
          <a:xfrm>
            <a:off x="4229102" y="1616103"/>
            <a:ext cx="7353298" cy="4502124"/>
          </a:xfrm>
          <a:prstGeom prst="roundRect">
            <a:avLst>
              <a:gd name="adj" fmla="val 51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D069032-9F12-4149-EE52-D279BF8CD0D4}"/>
              </a:ext>
            </a:extLst>
          </p:cNvPr>
          <p:cNvSpPr/>
          <p:nvPr/>
        </p:nvSpPr>
        <p:spPr>
          <a:xfrm>
            <a:off x="609602" y="1616103"/>
            <a:ext cx="3441700" cy="1403324"/>
          </a:xfrm>
          <a:prstGeom prst="roundRect">
            <a:avLst>
              <a:gd name="adj" fmla="val 107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DD8D1E2-23E0-9A5F-C41D-4E887B1EEC67}"/>
              </a:ext>
            </a:extLst>
          </p:cNvPr>
          <p:cNvSpPr/>
          <p:nvPr/>
        </p:nvSpPr>
        <p:spPr>
          <a:xfrm>
            <a:off x="609602" y="3165503"/>
            <a:ext cx="3441700" cy="1403324"/>
          </a:xfrm>
          <a:prstGeom prst="roundRect">
            <a:avLst>
              <a:gd name="adj" fmla="val 978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218E9457-31D7-A50B-AF2F-8AE47FD3B57E}"/>
              </a:ext>
            </a:extLst>
          </p:cNvPr>
          <p:cNvSpPr/>
          <p:nvPr/>
        </p:nvSpPr>
        <p:spPr>
          <a:xfrm>
            <a:off x="609602" y="4714903"/>
            <a:ext cx="3441700" cy="1403324"/>
          </a:xfrm>
          <a:prstGeom prst="roundRect">
            <a:avLst>
              <a:gd name="adj" fmla="val 880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2F47E6-268B-395B-CE81-CFE9D164302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ACB49D-A0AE-E234-39D0-C0EAB8F0BD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68E061-B6A9-1A13-7F93-ECBF3DBD56D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700741"/>
            <a:ext cx="10972800" cy="792480"/>
          </a:xfrm>
        </p:spPr>
        <p:txBody>
          <a:bodyPr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Importanci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estió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ntractual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ficient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D794B1-FCDA-014B-FC13-1D9CCA906835}"/>
              </a:ext>
            </a:extLst>
          </p:cNvPr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08501" y="1711414"/>
            <a:ext cx="6858000" cy="436444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Impacto de l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</a:rPr>
              <a:t>gestión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</a:rPr>
              <a:t> manual de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</a:rPr>
              <a:t>contratos</a:t>
            </a:r>
            <a:endParaRPr lang="en-US" sz="1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1" name="Content Placeholder 8">
            <a:extLst>
              <a:ext uri="{FF2B5EF4-FFF2-40B4-BE49-F238E27FC236}">
                <a16:creationId xmlns:a16="http://schemas.microsoft.com/office/drawing/2014/main" id="{5D459FCB-188C-9C87-3497-458DCEAE9103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52585987"/>
              </p:ext>
            </p:extLst>
          </p:nvPr>
        </p:nvGraphicFramePr>
        <p:xfrm>
          <a:off x="4508501" y="2249538"/>
          <a:ext cx="6858000" cy="3708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385ED67-5A80-D3ED-62F6-24C6D470444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9601" y="2425603"/>
            <a:ext cx="3441700" cy="640080"/>
          </a:xfrm>
          <a:prstGeom prst="rect">
            <a:avLst/>
          </a:prstGeom>
        </p:spPr>
        <p:txBody>
          <a:bodyPr vert="horz" lIns="182880" tIns="0" rIns="182880" bIns="45720" rtlCol="0" anchor="t">
            <a:normAutofit/>
          </a:bodyPr>
          <a:lstStyle>
            <a:lvl1pPr marL="0" indent="0" algn="l" defTabSz="914354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accent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>
              <a:lnSpc>
                <a:spcPct val="100000"/>
              </a:lnSpc>
            </a:pPr>
            <a:r>
              <a:rPr lang="en-US" sz="1600" b="0" dirty="0" err="1">
                <a:solidFill>
                  <a:schemeClr val="tx2"/>
                </a:solidFill>
                <a:latin typeface="Arial" panose="020B0604020202020204" pitchFamily="34" charset="0"/>
              </a:rPr>
              <a:t>Empresas</a:t>
            </a:r>
            <a:r>
              <a:rPr lang="en-US" sz="1600" b="0" dirty="0">
                <a:solidFill>
                  <a:schemeClr val="tx2"/>
                </a:solidFill>
                <a:latin typeface="Arial" panose="020B0604020202020204" pitchFamily="34" charset="0"/>
              </a:rPr>
              <a:t> con </a:t>
            </a:r>
            <a:r>
              <a:rPr lang="en-US" sz="1600" b="0" dirty="0" err="1">
                <a:solidFill>
                  <a:schemeClr val="tx2"/>
                </a:solidFill>
                <a:latin typeface="Arial" panose="020B0604020202020204" pitchFamily="34" charset="0"/>
              </a:rPr>
              <a:t>retrasos</a:t>
            </a:r>
            <a:endParaRPr lang="en-US" sz="1600" b="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870FFA1-3236-A3F9-201F-B35BAD8D5E83}"/>
              </a:ext>
            </a:extLst>
          </p:cNvPr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609601" y="3957983"/>
            <a:ext cx="3441700" cy="640080"/>
          </a:xfrm>
        </p:spPr>
        <p:txBody>
          <a:bodyPr lIns="182880" tIns="0" rIns="182880" anchor="t">
            <a:normAutofit/>
          </a:bodyPr>
          <a:lstStyle/>
          <a:p>
            <a:pPr marL="11113" indent="0">
              <a:lnSpc>
                <a:spcPct val="100000"/>
              </a:lnSpc>
              <a:buNone/>
            </a:pPr>
            <a:r>
              <a:rPr lang="en-US" dirty="0" err="1">
                <a:solidFill>
                  <a:schemeClr val="tx2"/>
                </a:solidFill>
                <a:latin typeface="Arial" panose="020B0604020202020204" pitchFamily="34" charset="0"/>
              </a:rPr>
              <a:t>Procesos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Arial" panose="020B0604020202020204" pitchFamily="34" charset="0"/>
              </a:rPr>
              <a:t>acelerados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</a:rPr>
              <a:t> con </a:t>
            </a:r>
            <a:r>
              <a:rPr lang="en-US" dirty="0" err="1">
                <a:solidFill>
                  <a:schemeClr val="tx2"/>
                </a:solidFill>
                <a:latin typeface="Arial" panose="020B0604020202020204" pitchFamily="34" charset="0"/>
              </a:rPr>
              <a:t>gestión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2"/>
                </a:solidFill>
                <a:latin typeface="Arial" panose="020B0604020202020204" pitchFamily="34" charset="0"/>
              </a:rPr>
              <a:t>eficiente</a:t>
            </a:r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7CB27A4-9D87-42BB-E3B3-6CA9A136448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09601" y="1633123"/>
            <a:ext cx="3441700" cy="777240"/>
          </a:xfrm>
          <a:prstGeom prst="rect">
            <a:avLst/>
          </a:prstGeom>
        </p:spPr>
        <p:txBody>
          <a:bodyPr lIns="182880" rIns="182880" bIns="0" anchor="b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1" indent="0">
              <a:lnSpc>
                <a:spcPct val="85000"/>
              </a:lnSpc>
              <a:buNone/>
            </a:pPr>
            <a:r>
              <a:rPr lang="en-US" sz="3600" b="1"/>
              <a:t>78%</a:t>
            </a:r>
            <a:endParaRPr lang="en-US" sz="3600" b="1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BACB308-294B-D6D2-74D8-1E5FEB2915F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09601" y="3165503"/>
            <a:ext cx="3441700" cy="777240"/>
          </a:xfrm>
          <a:prstGeom prst="rect">
            <a:avLst/>
          </a:prstGeom>
        </p:spPr>
        <p:txBody>
          <a:bodyPr lIns="182880" rIns="182880" bIns="0" anchor="b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1" indent="0">
              <a:lnSpc>
                <a:spcPct val="85000"/>
              </a:lnSpc>
              <a:buNone/>
            </a:pPr>
            <a:r>
              <a:rPr lang="en-US" sz="3600" b="1" dirty="0"/>
              <a:t>2x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92189E2A-E849-A017-187E-81D029B1908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9601" y="5504479"/>
            <a:ext cx="3441700" cy="640080"/>
          </a:xfrm>
          <a:prstGeom prst="rect">
            <a:avLst/>
          </a:prstGeom>
        </p:spPr>
        <p:txBody>
          <a:bodyPr lIns="182880" tIns="0" rIns="182880" anchor="t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</a:rPr>
              <a:t>Reducción de error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B592771-E245-E339-1FF1-A0A488F6B58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9601" y="4711999"/>
            <a:ext cx="3441700" cy="777240"/>
          </a:xfrm>
          <a:prstGeom prst="rect">
            <a:avLst/>
          </a:prstGeom>
        </p:spPr>
        <p:txBody>
          <a:bodyPr lIns="182880" rIns="182880" bIns="0" anchor="b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1" indent="0">
              <a:lnSpc>
                <a:spcPct val="85000"/>
              </a:lnSpc>
              <a:buNone/>
            </a:pPr>
            <a:r>
              <a:rPr lang="en-US" sz="3600" b="1" dirty="0"/>
              <a:t>-60%</a:t>
            </a:r>
          </a:p>
        </p:txBody>
      </p:sp>
    </p:spTree>
    <p:extLst>
      <p:ext uri="{BB962C8B-B14F-4D97-AF65-F5344CB8AC3E}">
        <p14:creationId xmlns:p14="http://schemas.microsoft.com/office/powerpoint/2010/main" val="2483955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475AC592-6E18-856C-D3A3-5AEFAE80224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BB4C0C7-DEBB-7AD1-4AC6-84AB17EED7E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92480"/>
          </a:xfrm>
        </p:spPr>
        <p:txBody>
          <a:bodyPr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ctua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5F4DE25-5666-B033-6C5F-56853D33C2B7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2987798"/>
            <a:ext cx="2642616" cy="30661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500" dirty="0">
                <a:latin typeface="Arial" panose="020B0604020202020204" pitchFamily="34" charset="0"/>
              </a:rPr>
              <a:t>La </a:t>
            </a:r>
            <a:r>
              <a:rPr lang="en-US" sz="1500" dirty="0" err="1">
                <a:latin typeface="Arial" panose="020B0604020202020204" pitchFamily="34" charset="0"/>
              </a:rPr>
              <a:t>gestión</a:t>
            </a:r>
            <a:r>
              <a:rPr lang="en-US" sz="1500" dirty="0">
                <a:latin typeface="Arial" panose="020B0604020202020204" pitchFamily="34" charset="0"/>
              </a:rPr>
              <a:t> manual </a:t>
            </a:r>
            <a:r>
              <a:rPr lang="en-US" sz="1500" dirty="0" err="1">
                <a:latin typeface="Arial" panose="020B0604020202020204" pitchFamily="34" charset="0"/>
              </a:rPr>
              <a:t>implica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manejar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documentos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físicos</a:t>
            </a:r>
            <a:r>
              <a:rPr lang="en-US" sz="1500" dirty="0">
                <a:latin typeface="Arial" panose="020B0604020202020204" pitchFamily="34" charset="0"/>
              </a:rPr>
              <a:t> o </a:t>
            </a:r>
            <a:r>
              <a:rPr lang="en-US" sz="1500" dirty="0" err="1">
                <a:latin typeface="Arial" panose="020B0604020202020204" pitchFamily="34" charset="0"/>
              </a:rPr>
              <a:t>digitales</a:t>
            </a:r>
            <a:r>
              <a:rPr lang="en-US" sz="1500" dirty="0">
                <a:latin typeface="Arial" panose="020B0604020202020204" pitchFamily="34" charset="0"/>
              </a:rPr>
              <a:t> sin </a:t>
            </a:r>
            <a:r>
              <a:rPr lang="en-US" sz="1500" dirty="0" err="1">
                <a:latin typeface="Arial" panose="020B0604020202020204" pitchFamily="34" charset="0"/>
              </a:rPr>
              <a:t>automatización</a:t>
            </a:r>
            <a:r>
              <a:rPr lang="en-US" sz="1500" dirty="0">
                <a:latin typeface="Arial" panose="020B0604020202020204" pitchFamily="34" charset="0"/>
              </a:rPr>
              <a:t>, lo que consume </a:t>
            </a:r>
            <a:r>
              <a:rPr lang="en-US" sz="1500" dirty="0" err="1">
                <a:latin typeface="Arial" panose="020B0604020202020204" pitchFamily="34" charset="0"/>
              </a:rPr>
              <a:t>tiempo</a:t>
            </a:r>
            <a:r>
              <a:rPr lang="en-US" sz="1500" dirty="0">
                <a:latin typeface="Arial" panose="020B0604020202020204" pitchFamily="34" charset="0"/>
              </a:rPr>
              <a:t> y es </a:t>
            </a:r>
            <a:r>
              <a:rPr lang="en-US" sz="1500" dirty="0" err="1">
                <a:latin typeface="Arial" panose="020B0604020202020204" pitchFamily="34" charset="0"/>
              </a:rPr>
              <a:t>propenso</a:t>
            </a:r>
            <a:r>
              <a:rPr lang="en-US" sz="1500" dirty="0">
                <a:latin typeface="Arial" panose="020B0604020202020204" pitchFamily="34" charset="0"/>
              </a:rPr>
              <a:t> a </a:t>
            </a:r>
            <a:r>
              <a:rPr lang="en-US" sz="1500" dirty="0" err="1">
                <a:latin typeface="Arial" panose="020B0604020202020204" pitchFamily="34" charset="0"/>
              </a:rPr>
              <a:t>errores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humanos</a:t>
            </a:r>
            <a:r>
              <a:rPr lang="en-US" sz="1500" dirty="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9E3D164-34EA-CCC6-0D04-370EF0F48223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386328" y="2987798"/>
            <a:ext cx="2642616" cy="30661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500" dirty="0">
                <a:latin typeface="Arial" panose="020B0604020202020204" pitchFamily="34" charset="0"/>
              </a:rPr>
              <a:t>La </a:t>
            </a:r>
            <a:r>
              <a:rPr lang="en-US" sz="1500" dirty="0" err="1">
                <a:latin typeface="Arial" panose="020B0604020202020204" pitchFamily="34" charset="0"/>
              </a:rPr>
              <a:t>gestión</a:t>
            </a:r>
            <a:r>
              <a:rPr lang="en-US" sz="1500" dirty="0">
                <a:latin typeface="Arial" panose="020B0604020202020204" pitchFamily="34" charset="0"/>
              </a:rPr>
              <a:t> manual es lenta y </a:t>
            </a:r>
            <a:r>
              <a:rPr lang="en-US" sz="1500" dirty="0" err="1">
                <a:latin typeface="Arial" panose="020B0604020202020204" pitchFamily="34" charset="0"/>
              </a:rPr>
              <a:t>desorganizada</a:t>
            </a:r>
            <a:r>
              <a:rPr lang="en-US" sz="1500" dirty="0">
                <a:latin typeface="Arial" panose="020B0604020202020204" pitchFamily="34" charset="0"/>
              </a:rPr>
              <a:t>, </a:t>
            </a:r>
            <a:r>
              <a:rPr lang="en-US" sz="1500" dirty="0" err="1">
                <a:latin typeface="Arial" panose="020B0604020202020204" pitchFamily="34" charset="0"/>
              </a:rPr>
              <a:t>mientras</a:t>
            </a:r>
            <a:r>
              <a:rPr lang="en-US" sz="1500" dirty="0">
                <a:latin typeface="Arial" panose="020B0604020202020204" pitchFamily="34" charset="0"/>
              </a:rPr>
              <a:t> que la </a:t>
            </a:r>
            <a:r>
              <a:rPr lang="en-US" sz="1500" dirty="0" err="1">
                <a:latin typeface="Arial" panose="020B0604020202020204" pitchFamily="34" charset="0"/>
              </a:rPr>
              <a:t>automatizada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centraliza</a:t>
            </a:r>
            <a:r>
              <a:rPr lang="en-US" sz="1500" dirty="0">
                <a:latin typeface="Arial" panose="020B0604020202020204" pitchFamily="34" charset="0"/>
              </a:rPr>
              <a:t> la </a:t>
            </a:r>
            <a:r>
              <a:rPr lang="en-US" sz="1500" dirty="0" err="1">
                <a:latin typeface="Arial" panose="020B0604020202020204" pitchFamily="34" charset="0"/>
              </a:rPr>
              <a:t>información</a:t>
            </a:r>
            <a:r>
              <a:rPr lang="en-US" sz="1500" dirty="0">
                <a:latin typeface="Arial" panose="020B0604020202020204" pitchFamily="34" charset="0"/>
              </a:rPr>
              <a:t> y </a:t>
            </a:r>
            <a:r>
              <a:rPr lang="en-US" sz="1500" dirty="0" err="1">
                <a:latin typeface="Arial" panose="020B0604020202020204" pitchFamily="34" charset="0"/>
              </a:rPr>
              <a:t>agiliza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procesos</a:t>
            </a:r>
            <a:r>
              <a:rPr lang="en-US" sz="1500" dirty="0">
                <a:latin typeface="Arial" panose="020B0604020202020204" pitchFamily="34" charset="0"/>
              </a:rPr>
              <a:t> con </a:t>
            </a:r>
            <a:r>
              <a:rPr lang="en-US" sz="1500" dirty="0" err="1">
                <a:latin typeface="Arial" panose="020B0604020202020204" pitchFamily="34" charset="0"/>
              </a:rPr>
              <a:t>alertas</a:t>
            </a:r>
            <a:r>
              <a:rPr lang="en-US" sz="1500" dirty="0">
                <a:latin typeface="Arial" panose="020B0604020202020204" pitchFamily="34" charset="0"/>
              </a:rPr>
              <a:t> y control </a:t>
            </a:r>
            <a:r>
              <a:rPr lang="en-US" sz="1500" dirty="0" err="1">
                <a:latin typeface="Arial" panose="020B0604020202020204" pitchFamily="34" charset="0"/>
              </a:rPr>
              <a:t>en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tiempo</a:t>
            </a:r>
            <a:r>
              <a:rPr lang="en-US" sz="1500" dirty="0">
                <a:latin typeface="Arial" panose="020B0604020202020204" pitchFamily="34" charset="0"/>
              </a:rPr>
              <a:t> recor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CE048E-468B-46C2-9D3B-C1E8319AA2F4}"/>
              </a:ext>
            </a:extLst>
          </p:cNvPr>
          <p:cNvSpPr>
            <a:spLocks noGrp="1"/>
          </p:cNvSpPr>
          <p:nvPr>
            <p:ph type="body" idx="14"/>
            <p:custDataLst>
              <p:tags r:id="rId5"/>
            </p:custDataLst>
          </p:nvPr>
        </p:nvSpPr>
        <p:spPr>
          <a:xfrm>
            <a:off x="609600" y="2271222"/>
            <a:ext cx="2642616" cy="616356"/>
          </a:xfrm>
        </p:spPr>
        <p:txBody>
          <a:bodyPr lIns="0" anchor="t">
            <a:normAutofit lnSpcReduction="10000"/>
          </a:bodyPr>
          <a:lstStyle/>
          <a:p>
            <a:r>
              <a:rPr lang="en-US" sz="1800" dirty="0" err="1">
                <a:latin typeface="Arial" panose="020B0604020202020204" pitchFamily="34" charset="0"/>
              </a:rPr>
              <a:t>Gestión</a:t>
            </a:r>
            <a:r>
              <a:rPr lang="en-US" sz="1800" dirty="0">
                <a:latin typeface="Arial" panose="020B0604020202020204" pitchFamily="34" charset="0"/>
              </a:rPr>
              <a:t> manual de </a:t>
            </a:r>
            <a:r>
              <a:rPr lang="en-US" sz="1800" dirty="0" err="1">
                <a:latin typeface="Arial" panose="020B0604020202020204" pitchFamily="34" charset="0"/>
              </a:rPr>
              <a:t>contratos</a:t>
            </a:r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D62A190-0D55-FEDE-2AE9-DCF41814D4DA}"/>
              </a:ext>
            </a:extLst>
          </p:cNvPr>
          <p:cNvSpPr>
            <a:spLocks noGrp="1"/>
          </p:cNvSpPr>
          <p:nvPr>
            <p:ph type="body" idx="15"/>
            <p:custDataLst>
              <p:tags r:id="rId6"/>
            </p:custDataLst>
          </p:nvPr>
        </p:nvSpPr>
        <p:spPr>
          <a:xfrm>
            <a:off x="3386328" y="2271222"/>
            <a:ext cx="2642616" cy="616356"/>
          </a:xfrm>
        </p:spPr>
        <p:txBody>
          <a:bodyPr lIns="0" anchor="t">
            <a:normAutofit/>
          </a:bodyPr>
          <a:lstStyle/>
          <a:p>
            <a:r>
              <a:rPr lang="en-US" sz="1800" dirty="0" err="1">
                <a:latin typeface="Arial" panose="020B0604020202020204" pitchFamily="34" charset="0"/>
              </a:rPr>
              <a:t>Comparativa</a:t>
            </a:r>
            <a:r>
              <a:rPr lang="en-US" sz="1800" dirty="0">
                <a:latin typeface="Arial" panose="020B0604020202020204" pitchFamily="34" charset="0"/>
              </a:rPr>
              <a:t> visual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88CA6F2-A08C-9780-2FF1-33D610FBC6F0}"/>
              </a:ext>
            </a:extLst>
          </p:cNvPr>
          <p:cNvSpPr>
            <a:spLocks noGrp="1"/>
          </p:cNvSpPr>
          <p:nvPr>
            <p:ph sz="half" idx="16"/>
            <p:custDataLst>
              <p:tags r:id="rId7"/>
            </p:custDataLst>
          </p:nvPr>
        </p:nvSpPr>
        <p:spPr>
          <a:xfrm>
            <a:off x="6163056" y="2987798"/>
            <a:ext cx="2642616" cy="30661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500" dirty="0" err="1">
                <a:latin typeface="Arial" panose="020B0604020202020204" pitchFamily="34" charset="0"/>
              </a:rPr>
              <a:t>Errores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en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fechas</a:t>
            </a:r>
            <a:r>
              <a:rPr lang="en-US" sz="1500" dirty="0">
                <a:latin typeface="Arial" panose="020B0604020202020204" pitchFamily="34" charset="0"/>
              </a:rPr>
              <a:t>, </a:t>
            </a:r>
            <a:r>
              <a:rPr lang="en-US" sz="1500" dirty="0" err="1">
                <a:latin typeface="Arial" panose="020B0604020202020204" pitchFamily="34" charset="0"/>
              </a:rPr>
              <a:t>pérdida</a:t>
            </a:r>
            <a:r>
              <a:rPr lang="en-US" sz="1500" dirty="0">
                <a:latin typeface="Arial" panose="020B0604020202020204" pitchFamily="34" charset="0"/>
              </a:rPr>
              <a:t> de </a:t>
            </a:r>
            <a:r>
              <a:rPr lang="en-US" sz="1500" dirty="0" err="1">
                <a:latin typeface="Arial" panose="020B0604020202020204" pitchFamily="34" charset="0"/>
              </a:rPr>
              <a:t>documentos</a:t>
            </a:r>
            <a:r>
              <a:rPr lang="en-US" sz="1500" dirty="0">
                <a:latin typeface="Arial" panose="020B0604020202020204" pitchFamily="34" charset="0"/>
              </a:rPr>
              <a:t>, </a:t>
            </a:r>
            <a:r>
              <a:rPr lang="en-US" sz="1500" dirty="0" err="1">
                <a:latin typeface="Arial" panose="020B0604020202020204" pitchFamily="34" charset="0"/>
              </a:rPr>
              <a:t>falta</a:t>
            </a:r>
            <a:r>
              <a:rPr lang="en-US" sz="1500" dirty="0">
                <a:latin typeface="Arial" panose="020B0604020202020204" pitchFamily="34" charset="0"/>
              </a:rPr>
              <a:t> de </a:t>
            </a:r>
            <a:r>
              <a:rPr lang="en-US" sz="1500" dirty="0" err="1">
                <a:latin typeface="Arial" panose="020B0604020202020204" pitchFamily="34" charset="0"/>
              </a:rPr>
              <a:t>seguimiento</a:t>
            </a:r>
            <a:r>
              <a:rPr lang="en-US" sz="1500" dirty="0">
                <a:latin typeface="Arial" panose="020B0604020202020204" pitchFamily="34" charset="0"/>
              </a:rPr>
              <a:t> y </a:t>
            </a:r>
            <a:r>
              <a:rPr lang="en-US" sz="1500" dirty="0" err="1">
                <a:latin typeface="Arial" panose="020B0604020202020204" pitchFamily="34" charset="0"/>
              </a:rPr>
              <a:t>dificultad</a:t>
            </a:r>
            <a:r>
              <a:rPr lang="en-US" sz="1500" dirty="0">
                <a:latin typeface="Arial" panose="020B0604020202020204" pitchFamily="34" charset="0"/>
              </a:rPr>
              <a:t> para acceder a </a:t>
            </a:r>
            <a:r>
              <a:rPr lang="en-US" sz="1500" dirty="0" err="1">
                <a:latin typeface="Arial" panose="020B0604020202020204" pitchFamily="34" charset="0"/>
              </a:rPr>
              <a:t>información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generan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retrasos</a:t>
            </a:r>
            <a:r>
              <a:rPr lang="en-US" sz="1500" dirty="0">
                <a:latin typeface="Arial" panose="020B0604020202020204" pitchFamily="34" charset="0"/>
              </a:rPr>
              <a:t> y </a:t>
            </a:r>
            <a:r>
              <a:rPr lang="en-US" sz="1500" dirty="0" err="1">
                <a:latin typeface="Arial" panose="020B0604020202020204" pitchFamily="34" charset="0"/>
              </a:rPr>
              <a:t>riesgos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legales</a:t>
            </a:r>
            <a:r>
              <a:rPr lang="en-US" sz="1500" dirty="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F778047-B10F-BD6D-AF9D-58DD30A86E36}"/>
              </a:ext>
            </a:extLst>
          </p:cNvPr>
          <p:cNvSpPr>
            <a:spLocks noGrp="1"/>
          </p:cNvSpPr>
          <p:nvPr>
            <p:ph sz="half" idx="17"/>
            <p:custDataLst>
              <p:tags r:id="rId8"/>
            </p:custDataLst>
          </p:nvPr>
        </p:nvSpPr>
        <p:spPr>
          <a:xfrm>
            <a:off x="8939784" y="2989899"/>
            <a:ext cx="2642616" cy="30661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500" dirty="0">
                <a:latin typeface="Arial" panose="020B0604020202020204" pitchFamily="34" charset="0"/>
              </a:rPr>
              <a:t>Una </a:t>
            </a:r>
            <a:r>
              <a:rPr lang="en-US" sz="1500" dirty="0" err="1">
                <a:latin typeface="Arial" panose="020B0604020202020204" pitchFamily="34" charset="0"/>
              </a:rPr>
              <a:t>plataforma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automatizada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como</a:t>
            </a:r>
            <a:r>
              <a:rPr lang="en-US" sz="1500" dirty="0">
                <a:latin typeface="Arial" panose="020B0604020202020204" pitchFamily="34" charset="0"/>
              </a:rPr>
              <a:t> PACTA </a:t>
            </a:r>
            <a:r>
              <a:rPr lang="en-US" sz="1500" dirty="0" err="1">
                <a:latin typeface="Arial" panose="020B0604020202020204" pitchFamily="34" charset="0"/>
              </a:rPr>
              <a:t>mejora</a:t>
            </a:r>
            <a:r>
              <a:rPr lang="en-US" sz="1500" dirty="0">
                <a:latin typeface="Arial" panose="020B0604020202020204" pitchFamily="34" charset="0"/>
              </a:rPr>
              <a:t> la </a:t>
            </a:r>
            <a:r>
              <a:rPr lang="en-US" sz="1500" dirty="0" err="1">
                <a:latin typeface="Arial" panose="020B0604020202020204" pitchFamily="34" charset="0"/>
              </a:rPr>
              <a:t>trazabilidad</a:t>
            </a:r>
            <a:r>
              <a:rPr lang="en-US" sz="1500" dirty="0">
                <a:latin typeface="Arial" panose="020B0604020202020204" pitchFamily="34" charset="0"/>
              </a:rPr>
              <a:t>, reduce </a:t>
            </a:r>
            <a:r>
              <a:rPr lang="en-US" sz="1500" dirty="0" err="1">
                <a:latin typeface="Arial" panose="020B0604020202020204" pitchFamily="34" charset="0"/>
              </a:rPr>
              <a:t>errores</a:t>
            </a:r>
            <a:r>
              <a:rPr lang="en-US" sz="1500" dirty="0">
                <a:latin typeface="Arial" panose="020B0604020202020204" pitchFamily="34" charset="0"/>
              </a:rPr>
              <a:t> y </a:t>
            </a:r>
            <a:r>
              <a:rPr lang="en-US" sz="1500" dirty="0" err="1">
                <a:latin typeface="Arial" panose="020B0604020202020204" pitchFamily="34" charset="0"/>
              </a:rPr>
              <a:t>permite</a:t>
            </a:r>
            <a:r>
              <a:rPr lang="en-US" sz="1500" dirty="0">
                <a:latin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</a:rPr>
              <a:t>operar</a:t>
            </a:r>
            <a:r>
              <a:rPr lang="en-US" sz="1500" dirty="0">
                <a:latin typeface="Arial" panose="020B0604020202020204" pitchFamily="34" charset="0"/>
              </a:rPr>
              <a:t> offline, </a:t>
            </a:r>
            <a:r>
              <a:rPr lang="en-US" sz="1500" dirty="0" err="1">
                <a:latin typeface="Arial" panose="020B0604020202020204" pitchFamily="34" charset="0"/>
              </a:rPr>
              <a:t>optimizando</a:t>
            </a:r>
            <a:r>
              <a:rPr lang="en-US" sz="1500" dirty="0">
                <a:latin typeface="Arial" panose="020B0604020202020204" pitchFamily="34" charset="0"/>
              </a:rPr>
              <a:t> la </a:t>
            </a:r>
            <a:r>
              <a:rPr lang="en-US" sz="1500" dirty="0" err="1">
                <a:latin typeface="Arial" panose="020B0604020202020204" pitchFamily="34" charset="0"/>
              </a:rPr>
              <a:t>gestión</a:t>
            </a:r>
            <a:r>
              <a:rPr lang="en-US" sz="1500" dirty="0">
                <a:latin typeface="Arial" panose="020B0604020202020204" pitchFamily="34" charset="0"/>
              </a:rPr>
              <a:t> contractual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738F25-3596-3DFF-6CD8-E0CC3E33F87A}"/>
              </a:ext>
            </a:extLst>
          </p:cNvPr>
          <p:cNvSpPr>
            <a:spLocks noGrp="1"/>
          </p:cNvSpPr>
          <p:nvPr>
            <p:ph type="body" idx="18"/>
            <p:custDataLst>
              <p:tags r:id="rId9"/>
            </p:custDataLst>
          </p:nvPr>
        </p:nvSpPr>
        <p:spPr>
          <a:xfrm>
            <a:off x="6163056" y="2271222"/>
            <a:ext cx="2642616" cy="616356"/>
          </a:xfrm>
        </p:spPr>
        <p:txBody>
          <a:bodyPr lIns="0" anchor="t">
            <a:normAutofit/>
          </a:bodyPr>
          <a:lstStyle/>
          <a:p>
            <a:r>
              <a:rPr lang="en-US" sz="1800" dirty="0" err="1">
                <a:latin typeface="Arial" panose="020B0604020202020204" pitchFamily="34" charset="0"/>
              </a:rPr>
              <a:t>Problemas</a:t>
            </a:r>
            <a:r>
              <a:rPr lang="en-US" sz="1800" dirty="0">
                <a:latin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</a:rPr>
              <a:t>comunes</a:t>
            </a:r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BD0E6-D218-A1EB-6E8E-CC61B22CB9B8}"/>
              </a:ext>
            </a:extLst>
          </p:cNvPr>
          <p:cNvSpPr>
            <a:spLocks noGrp="1"/>
          </p:cNvSpPr>
          <p:nvPr>
            <p:ph type="body" idx="19"/>
            <p:custDataLst>
              <p:tags r:id="rId10"/>
            </p:custDataLst>
          </p:nvPr>
        </p:nvSpPr>
        <p:spPr>
          <a:xfrm>
            <a:off x="8939784" y="2271222"/>
            <a:ext cx="2642616" cy="616356"/>
          </a:xfrm>
        </p:spPr>
        <p:txBody>
          <a:bodyPr vert="horz" lIns="0" tIns="45720" rIns="91440" bIns="45720" rtlCol="0" anchor="t">
            <a:normAutofit lnSpcReduction="10000"/>
          </a:bodyPr>
          <a:lstStyle/>
          <a:p>
            <a:r>
              <a:rPr lang="en-US" sz="1800" dirty="0" err="1">
                <a:latin typeface="Arial" panose="020B0604020202020204" pitchFamily="34" charset="0"/>
              </a:rPr>
              <a:t>Necesidad</a:t>
            </a:r>
            <a:r>
              <a:rPr lang="en-US" sz="1800" dirty="0">
                <a:latin typeface="Arial" panose="020B0604020202020204" pitchFamily="34" charset="0"/>
              </a:rPr>
              <a:t> de </a:t>
            </a:r>
            <a:r>
              <a:rPr lang="en-US" sz="1800" dirty="0" err="1">
                <a:latin typeface="Arial" panose="020B0604020202020204" pitchFamily="34" charset="0"/>
              </a:rPr>
              <a:t>solución</a:t>
            </a:r>
            <a:r>
              <a:rPr lang="en-US" sz="1800" dirty="0">
                <a:latin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</a:rPr>
              <a:t>eficiente</a:t>
            </a:r>
            <a:endParaRPr lang="en-US" sz="1800" dirty="0"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8181B07-783F-AFBD-B738-6BA2F795F3E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09600" y="1840062"/>
            <a:ext cx="320040" cy="32004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FCC659D-36B2-83EE-794F-D8ED123E8B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386328" y="1840062"/>
            <a:ext cx="320040" cy="32004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3FA10D0-0282-81A2-07C7-5AD2E02CA20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163056" y="1840062"/>
            <a:ext cx="320040" cy="32004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C1133FC-3984-2528-EDDB-051762AE52F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939784" y="1840062"/>
            <a:ext cx="320040" cy="32004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CB7FB0A-21F3-B44A-ACFA-B4EC408CC72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075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E93C0-D213-5FB4-223B-AE2AD5F24E54}"/>
              </a:ext>
            </a:extLst>
          </p:cNvPr>
          <p:cNvSpPr/>
          <p:nvPr/>
        </p:nvSpPr>
        <p:spPr>
          <a:xfrm>
            <a:off x="-177" y="-1"/>
            <a:ext cx="404505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DA48C6-AA9A-1D09-0830-E327473D9E4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PACTA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BB4C0C7-DEBB-7AD1-4AC6-84AB17EED7E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14339" y="700740"/>
            <a:ext cx="3343274" cy="5435600"/>
          </a:xfrm>
        </p:spPr>
        <p:txBody>
          <a:bodyPr>
            <a:normAutofit/>
          </a:bodyPr>
          <a:lstStyle/>
          <a:p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PACTA busca optimizar el ciclo de vida contractual mediante tres pilares fundamentales: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E788DD44-AE73-33B6-4635-9B8D5137E607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773779" y="468868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 dirty="0" err="1">
                <a:latin typeface="Arial" panose="020B0604020202020204" pitchFamily="34" charset="0"/>
              </a:rPr>
              <a:t>Unificar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tod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l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contratos</a:t>
            </a:r>
            <a:r>
              <a:rPr lang="en-US" dirty="0">
                <a:latin typeface="Arial" panose="020B0604020202020204" pitchFamily="34" charset="0"/>
              </a:rPr>
              <a:t> y </a:t>
            </a:r>
            <a:r>
              <a:rPr lang="en-US" dirty="0" err="1">
                <a:latin typeface="Arial" panose="020B0604020202020204" pitchFamily="34" charset="0"/>
              </a:rPr>
              <a:t>document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en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una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única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plataforma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accesible</a:t>
            </a:r>
            <a:r>
              <a:rPr lang="en-US" dirty="0">
                <a:latin typeface="Arial" panose="020B0604020202020204" pitchFamily="34" charset="0"/>
              </a:rPr>
              <a:t> para </a:t>
            </a:r>
            <a:r>
              <a:rPr lang="en-US" dirty="0" err="1">
                <a:latin typeface="Arial" panose="020B0604020202020204" pitchFamily="34" charset="0"/>
              </a:rPr>
              <a:t>tod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l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usuarios</a:t>
            </a:r>
            <a:r>
              <a:rPr lang="en-US" dirty="0">
                <a:latin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</a:rPr>
              <a:t>autorizados</a:t>
            </a:r>
            <a:r>
              <a:rPr lang="en-US" dirty="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F595EC02-957F-FE81-2C9F-5A8C787B445F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773778" y="2474714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>
                <a:latin typeface="Arial" panose="020B0604020202020204" pitchFamily="34" charset="0"/>
              </a:rPr>
              <a:t>Registrar y seguir cada cambio y acción en los contratos para garantizar transparencia y auditoría completa.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262DC19F-B03F-FD9C-64D4-837E89CE392B}"/>
              </a:ext>
            </a:extLst>
          </p:cNvPr>
          <p:cNvSpPr>
            <a:spLocks noGrp="1"/>
          </p:cNvSpPr>
          <p:nvPr>
            <p:ph sz="half" idx="13"/>
            <p:custDataLst>
              <p:tags r:id="rId5"/>
            </p:custDataLst>
          </p:nvPr>
        </p:nvSpPr>
        <p:spPr>
          <a:xfrm>
            <a:off x="6773778" y="4480560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>
                <a:latin typeface="Arial" panose="020B0604020202020204" pitchFamily="34" charset="0"/>
              </a:rPr>
              <a:t>Permitir el acceso y gestión de contratos sin conexión a internet para asegurar continuidad en cualquier lugar y momento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CE048E-468B-46C2-9D3B-C1E8319AA2F4}"/>
              </a:ext>
            </a:extLst>
          </p:cNvPr>
          <p:cNvSpPr>
            <a:spLocks noGrp="1"/>
          </p:cNvSpPr>
          <p:nvPr>
            <p:ph type="body" idx="14"/>
            <p:custDataLst>
              <p:tags r:id="rId6"/>
            </p:custDataLst>
          </p:nvPr>
        </p:nvSpPr>
        <p:spPr>
          <a:xfrm>
            <a:off x="5028112" y="468866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14000"/>
              </a:lnSpc>
            </a:pPr>
            <a:r>
              <a:rPr lang="en-US" sz="1600" dirty="0">
                <a:latin typeface="Arial" panose="020B0604020202020204" pitchFamily="34" charset="0"/>
              </a:rPr>
              <a:t>Centralizació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D62A190-0D55-FEDE-2AE9-DCF41814D4DA}"/>
              </a:ext>
            </a:extLst>
          </p:cNvPr>
          <p:cNvSpPr>
            <a:spLocks noGrp="1"/>
          </p:cNvSpPr>
          <p:nvPr>
            <p:ph type="body" idx="15"/>
            <p:custDataLst>
              <p:tags r:id="rId7"/>
            </p:custDataLst>
          </p:nvPr>
        </p:nvSpPr>
        <p:spPr>
          <a:xfrm>
            <a:off x="5028112" y="2474714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14000"/>
              </a:lnSpc>
            </a:pPr>
            <a:r>
              <a:rPr lang="en-US" sz="1600">
                <a:latin typeface="Arial" panose="020B0604020202020204" pitchFamily="34" charset="0"/>
              </a:rPr>
              <a:t>Trazabilida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738F25-3596-3DFF-6CD8-E0CC3E33F87A}"/>
              </a:ext>
            </a:extLst>
          </p:cNvPr>
          <p:cNvSpPr>
            <a:spLocks noGrp="1"/>
          </p:cNvSpPr>
          <p:nvPr>
            <p:ph type="body" idx="16"/>
            <p:custDataLst>
              <p:tags r:id="rId8"/>
            </p:custDataLst>
          </p:nvPr>
        </p:nvSpPr>
        <p:spPr>
          <a:xfrm>
            <a:off x="5028112" y="4480560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14000"/>
              </a:lnSpc>
            </a:pPr>
            <a:r>
              <a:rPr lang="en-US" sz="1600">
                <a:latin typeface="Arial" panose="020B0604020202020204" pitchFamily="34" charset="0"/>
              </a:rPr>
              <a:t>Operación offlin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64DFC7-C861-C967-C0CE-7990949D9E4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A50666-EF2A-25FF-33FB-7652A907C850}"/>
              </a:ext>
            </a:extLst>
          </p:cNvPr>
          <p:cNvSpPr txBox="1"/>
          <p:nvPr/>
        </p:nvSpPr>
        <p:spPr>
          <a:xfrm>
            <a:off x="4217307" y="468866"/>
            <a:ext cx="638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EFBC15-F158-6986-2CDF-05CDE56DD4FB}"/>
              </a:ext>
            </a:extLst>
          </p:cNvPr>
          <p:cNvSpPr txBox="1"/>
          <p:nvPr/>
        </p:nvSpPr>
        <p:spPr>
          <a:xfrm>
            <a:off x="4217307" y="2478140"/>
            <a:ext cx="638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>
                <a:solidFill>
                  <a:schemeClr val="accent3"/>
                </a:solidFill>
              </a:rPr>
              <a:t>0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BE883E-9DCA-2FEA-ED38-A301BADB1863}"/>
              </a:ext>
            </a:extLst>
          </p:cNvPr>
          <p:cNvSpPr txBox="1"/>
          <p:nvPr/>
        </p:nvSpPr>
        <p:spPr>
          <a:xfrm>
            <a:off x="4217307" y="4480560"/>
            <a:ext cx="638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>
                <a:solidFill>
                  <a:schemeClr val="accent3"/>
                </a:solidFill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113072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70614E6-BF59-212D-C180-0BEA182EE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59E47C-6D3C-C71B-2CB8-C3648EF11B0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Componentes Clave de PAC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53246A-8DFE-47A3-9ACE-424A8BC90588}"/>
              </a:ext>
            </a:extLst>
          </p:cNvPr>
          <p:cNvSpPr>
            <a:spLocks noGrp="1"/>
          </p:cNvSpPr>
          <p:nvPr>
            <p:ph sz="half" idx="14"/>
            <p:custDataLst>
              <p:tags r:id="rId3"/>
            </p:custDataLst>
          </p:nvPr>
        </p:nvSpPr>
        <p:spPr>
          <a:xfrm>
            <a:off x="3779520" y="1869336"/>
            <a:ext cx="7802880" cy="1554480"/>
          </a:xfrm>
        </p:spPr>
        <p:txBody>
          <a:bodyPr anchor="t">
            <a:normAutofit/>
          </a:bodyPr>
          <a:lstStyle/>
          <a:p>
            <a:pPr>
              <a:lnSpc>
                <a:spcPct val="110000"/>
              </a:lnSpc>
              <a:buClr>
                <a:schemeClr val="tx2"/>
              </a:buClr>
            </a:pPr>
            <a:r>
              <a:rPr lang="en-US" sz="1600" noProof="1">
                <a:latin typeface="Arial" panose="020B0604020202020204" pitchFamily="34" charset="0"/>
              </a:rPr>
              <a:t>Aplicación de Escritorio: Interfaz amigable que permite gestionar contratos sin depender de conexión constante a internet.
SQLite: Base de datos ligera y eficiente para almacenar toda la información localmente y asegurar la trazabilidad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81F0E84-EA75-1504-E05F-2A2DD425C054}"/>
              </a:ext>
            </a:extLst>
          </p:cNvPr>
          <p:cNvSpPr>
            <a:spLocks noGrp="1"/>
          </p:cNvSpPr>
          <p:nvPr>
            <p:ph sz="half" idx="15"/>
            <p:custDataLst>
              <p:tags r:id="rId4"/>
            </p:custDataLst>
          </p:nvPr>
        </p:nvSpPr>
        <p:spPr>
          <a:xfrm>
            <a:off x="3779520" y="4622330"/>
            <a:ext cx="7802880" cy="1554480"/>
          </a:xfrm>
        </p:spPr>
        <p:txBody>
          <a:bodyPr anchor="t">
            <a:normAutofit/>
          </a:bodyPr>
          <a:lstStyle/>
          <a:p>
            <a:pPr>
              <a:lnSpc>
                <a:spcPct val="110000"/>
              </a:lnSpc>
              <a:buClr>
                <a:schemeClr val="tx2"/>
              </a:buClr>
            </a:pPr>
            <a:r>
              <a:rPr lang="en-US" sz="1600" noProof="1">
                <a:latin typeface="Arial" panose="020B0604020202020204" pitchFamily="34" charset="0"/>
              </a:rPr>
              <a:t>Notificaciones Automáticas: Alertas inteligentes que recuerdan fechas importantes y cambios en los contratos.
Dashboard Interactivo: Panel visual que muestra resumen de contratos, alertas y estado general para facilitar la toma de decisione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36E683-BFF3-CD8E-7B4B-4FEAA36D8A2E}"/>
              </a:ext>
            </a:extLst>
          </p:cNvPr>
          <p:cNvSpPr>
            <a:spLocks noGrp="1"/>
          </p:cNvSpPr>
          <p:nvPr>
            <p:ph type="body" idx="17"/>
            <p:custDataLst>
              <p:tags r:id="rId5"/>
            </p:custDataLst>
          </p:nvPr>
        </p:nvSpPr>
        <p:spPr>
          <a:xfrm>
            <a:off x="3119120" y="1382516"/>
            <a:ext cx="8463280" cy="38809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Aplicación de Escritorio y SQLi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7E3E47-8C92-A883-A6FF-8C12D2BA4915}"/>
              </a:ext>
            </a:extLst>
          </p:cNvPr>
          <p:cNvSpPr>
            <a:spLocks noGrp="1"/>
          </p:cNvSpPr>
          <p:nvPr>
            <p:ph type="body" idx="18"/>
            <p:custDataLst>
              <p:tags r:id="rId6"/>
            </p:custDataLst>
          </p:nvPr>
        </p:nvSpPr>
        <p:spPr>
          <a:xfrm>
            <a:off x="3119120" y="4131084"/>
            <a:ext cx="8463280" cy="388098"/>
          </a:xfrm>
        </p:spPr>
        <p:txBody>
          <a:bodyPr>
            <a:normAutofit/>
          </a:bodyPr>
          <a:lstStyle/>
          <a:p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Notificaciones Automáticas y Dashboard Interactivo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5A7954-965B-04B9-3143-14AD7334CFD4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7"/>
            </p:custDataLst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b="0" noProof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ció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56CBD48-49DD-32D0-9357-B7393EF648F1}"/>
              </a:ext>
            </a:extLst>
          </p:cNvPr>
          <p:cNvSpPr/>
          <p:nvPr/>
        </p:nvSpPr>
        <p:spPr>
          <a:xfrm>
            <a:off x="503682" y="481583"/>
            <a:ext cx="91440" cy="914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9" name="Google Shape;504;p66">
            <a:extLst>
              <a:ext uri="{FF2B5EF4-FFF2-40B4-BE49-F238E27FC236}">
                <a16:creationId xmlns:a16="http://schemas.microsoft.com/office/drawing/2014/main" id="{1C9A5942-CFCF-4A65-F46A-F30370D5EDB6}"/>
              </a:ext>
            </a:extLst>
          </p:cNvPr>
          <p:cNvPicPr preferRelativeResize="0">
            <a:picLocks/>
          </p:cNvPicPr>
          <p:nvPr>
            <p:custDataLst>
              <p:tags r:id="rId8"/>
            </p:custDataLst>
          </p:nvPr>
        </p:nvPicPr>
        <p:blipFill rotWithShape="1">
          <a:blip r:embed="rId11" cstate="screen">
            <a:alphaModFix amt="6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5" y="1188790"/>
            <a:ext cx="2651760" cy="265176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0" name="Google Shape;505;p66">
            <a:extLst>
              <a:ext uri="{FF2B5EF4-FFF2-40B4-BE49-F238E27FC236}">
                <a16:creationId xmlns:a16="http://schemas.microsoft.com/office/drawing/2014/main" id="{1BDE7AD5-9B20-571A-3FD9-2801FE539DB1}"/>
              </a:ext>
            </a:extLst>
          </p:cNvPr>
          <p:cNvPicPr preferRelativeResize="0">
            <a:picLocks/>
          </p:cNvPicPr>
          <p:nvPr>
            <p:custDataLst>
              <p:tags r:id="rId9"/>
            </p:custDataLst>
          </p:nvPr>
        </p:nvPicPr>
        <p:blipFill rotWithShape="1">
          <a:blip r:embed="rId12" cstate="screen">
            <a:alphaModFix amt="6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5" y="3926892"/>
            <a:ext cx="2651760" cy="2651760"/>
          </a:xfrm>
          <a:prstGeom prst="ellipse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3864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948C04-F767-D12E-C83B-DB3D22D112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FEB0AB95-F447-EDA2-D018-527E5FB545E4}"/>
              </a:ext>
            </a:extLst>
          </p:cNvPr>
          <p:cNvSpPr/>
          <p:nvPr/>
        </p:nvSpPr>
        <p:spPr>
          <a:xfrm>
            <a:off x="509017" y="1745721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E8D44D6-2D57-E03E-CE4F-A25091516535}"/>
              </a:ext>
            </a:extLst>
          </p:cNvPr>
          <p:cNvCxnSpPr>
            <a:cxnSpLocks/>
          </p:cNvCxnSpPr>
          <p:nvPr/>
        </p:nvCxnSpPr>
        <p:spPr>
          <a:xfrm>
            <a:off x="806197" y="2052604"/>
            <a:ext cx="0" cy="685800"/>
          </a:xfrm>
          <a:prstGeom prst="line">
            <a:avLst/>
          </a:prstGeom>
          <a:ln w="12700">
            <a:solidFill>
              <a:schemeClr val="tx1"/>
            </a:solidFill>
            <a:head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AAD7EBFF-7BA0-22AA-7A2A-55A2ADACED94}"/>
              </a:ext>
            </a:extLst>
          </p:cNvPr>
          <p:cNvSpPr/>
          <p:nvPr/>
        </p:nvSpPr>
        <p:spPr>
          <a:xfrm>
            <a:off x="3310832" y="1745721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4FE7847-7036-1C66-1FB5-434437F80E74}"/>
              </a:ext>
            </a:extLst>
          </p:cNvPr>
          <p:cNvCxnSpPr>
            <a:cxnSpLocks/>
          </p:cNvCxnSpPr>
          <p:nvPr/>
        </p:nvCxnSpPr>
        <p:spPr>
          <a:xfrm>
            <a:off x="3608012" y="2052604"/>
            <a:ext cx="0" cy="685800"/>
          </a:xfrm>
          <a:prstGeom prst="line">
            <a:avLst/>
          </a:prstGeom>
          <a:ln w="12700">
            <a:solidFill>
              <a:schemeClr val="tx1"/>
            </a:solidFill>
            <a:head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04A83E54-D9EE-33C8-67B1-A6E771F98D90}"/>
              </a:ext>
            </a:extLst>
          </p:cNvPr>
          <p:cNvSpPr/>
          <p:nvPr/>
        </p:nvSpPr>
        <p:spPr>
          <a:xfrm>
            <a:off x="6089201" y="1745721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E871BD7-8F56-0D6A-B549-C0F4876ADF04}"/>
              </a:ext>
            </a:extLst>
          </p:cNvPr>
          <p:cNvCxnSpPr>
            <a:cxnSpLocks/>
          </p:cNvCxnSpPr>
          <p:nvPr/>
        </p:nvCxnSpPr>
        <p:spPr>
          <a:xfrm>
            <a:off x="6386381" y="2052604"/>
            <a:ext cx="0" cy="685800"/>
          </a:xfrm>
          <a:prstGeom prst="line">
            <a:avLst/>
          </a:prstGeom>
          <a:ln w="12700">
            <a:solidFill>
              <a:schemeClr val="tx1"/>
            </a:solidFill>
            <a:head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1EEE8EA7-5281-2158-0119-C0EE0856DD60}"/>
              </a:ext>
            </a:extLst>
          </p:cNvPr>
          <p:cNvSpPr/>
          <p:nvPr/>
        </p:nvSpPr>
        <p:spPr>
          <a:xfrm>
            <a:off x="8855847" y="1745721"/>
            <a:ext cx="594360" cy="5943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A750AB2-BCBA-1CD4-E25B-83739DF889FC}"/>
              </a:ext>
            </a:extLst>
          </p:cNvPr>
          <p:cNvCxnSpPr>
            <a:cxnSpLocks/>
          </p:cNvCxnSpPr>
          <p:nvPr/>
        </p:nvCxnSpPr>
        <p:spPr>
          <a:xfrm>
            <a:off x="9153027" y="2052604"/>
            <a:ext cx="0" cy="685800"/>
          </a:xfrm>
          <a:prstGeom prst="line">
            <a:avLst/>
          </a:prstGeom>
          <a:ln w="12700">
            <a:solidFill>
              <a:schemeClr val="tx1"/>
            </a:solidFill>
            <a:head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FC6FC640-3C3F-C53E-BA89-15458B60942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731520"/>
            <a:ext cx="11125200" cy="5842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Evolución de la Arquitectura del Sistem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F897627-C124-A3B9-BA43-D42FE516C9F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595122" y="3645085"/>
            <a:ext cx="2560320" cy="190809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buNone/>
            </a:pPr>
            <a:r>
              <a:rPr lang="en-US" sz="1400" noProof="1">
                <a:latin typeface="Arial" panose="020B0604020202020204" pitchFamily="34" charset="0"/>
              </a:rPr>
              <a:t>Interfaz amigable y accesible para facilitar la interacción del usuario con la aplicación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1C5E5D-8E16-66A2-3D95-FC596176FCAD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277512" y="3645085"/>
            <a:ext cx="2560320" cy="190809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buNone/>
            </a:pPr>
            <a:r>
              <a:rPr lang="en-US" sz="1400" noProof="1">
                <a:latin typeface="Arial" panose="020B0604020202020204" pitchFamily="34" charset="0"/>
              </a:rPr>
              <a:t>Procesamiento de reglas y flujos que gestionan las operaciones principales del sistema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8EB7F49-CD0A-2234-AF06-1FB0887EB6EC}"/>
              </a:ext>
            </a:extLst>
          </p:cNvPr>
          <p:cNvSpPr>
            <a:spLocks noGrp="1"/>
          </p:cNvSpPr>
          <p:nvPr>
            <p:ph type="body" idx="14"/>
            <p:custDataLst>
              <p:tags r:id="rId5"/>
            </p:custDataLst>
          </p:nvPr>
        </p:nvSpPr>
        <p:spPr>
          <a:xfrm>
            <a:off x="595122" y="2943044"/>
            <a:ext cx="2560320" cy="54881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UI/U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38E46F-26EB-AD85-66E9-604684B5C89C}"/>
              </a:ext>
            </a:extLst>
          </p:cNvPr>
          <p:cNvSpPr>
            <a:spLocks noGrp="1"/>
          </p:cNvSpPr>
          <p:nvPr>
            <p:ph type="body" idx="15"/>
            <p:custDataLst>
              <p:tags r:id="rId6"/>
            </p:custDataLst>
          </p:nvPr>
        </p:nvSpPr>
        <p:spPr>
          <a:xfrm>
            <a:off x="3277512" y="2943044"/>
            <a:ext cx="2560320" cy="54881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Lógica de Negocio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A074228-C69B-09D8-A4DD-FF58FBA1EFF9}"/>
              </a:ext>
            </a:extLst>
          </p:cNvPr>
          <p:cNvSpPr>
            <a:spLocks noGrp="1"/>
          </p:cNvSpPr>
          <p:nvPr>
            <p:ph sz="half" idx="16"/>
            <p:custDataLst>
              <p:tags r:id="rId7"/>
            </p:custDataLst>
          </p:nvPr>
        </p:nvSpPr>
        <p:spPr>
          <a:xfrm>
            <a:off x="6054240" y="3645085"/>
            <a:ext cx="2560320" cy="190809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buNone/>
            </a:pPr>
            <a:r>
              <a:rPr lang="en-US" sz="1400" noProof="1">
                <a:latin typeface="Arial" panose="020B0604020202020204" pitchFamily="34" charset="0"/>
              </a:rPr>
              <a:t>Módulo encargado de la comunicación entre la aplicación y la base de datos para consultas y actualizaciones.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0ED1C5-3BCD-3873-35EA-A0B371ED3C95}"/>
              </a:ext>
            </a:extLst>
          </p:cNvPr>
          <p:cNvSpPr>
            <a:spLocks noGrp="1"/>
          </p:cNvSpPr>
          <p:nvPr>
            <p:ph sz="half" idx="17"/>
            <p:custDataLst>
              <p:tags r:id="rId8"/>
            </p:custDataLst>
          </p:nvPr>
        </p:nvSpPr>
        <p:spPr>
          <a:xfrm>
            <a:off x="8830968" y="3647188"/>
            <a:ext cx="2560320" cy="190809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buNone/>
            </a:pPr>
            <a:r>
              <a:rPr lang="en-US" sz="1400" noProof="1">
                <a:latin typeface="Arial" panose="020B0604020202020204" pitchFamily="34" charset="0"/>
              </a:rPr>
              <a:t>Almacenamiento seguro y eficiente de la información en bases de datos SQLite para garantizar la integridad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22A08A6-2F42-701B-109A-3DDAAFE0DAB9}"/>
              </a:ext>
            </a:extLst>
          </p:cNvPr>
          <p:cNvSpPr>
            <a:spLocks noGrp="1"/>
          </p:cNvSpPr>
          <p:nvPr>
            <p:ph type="body" idx="18"/>
            <p:custDataLst>
              <p:tags r:id="rId9"/>
            </p:custDataLst>
          </p:nvPr>
        </p:nvSpPr>
        <p:spPr>
          <a:xfrm>
            <a:off x="6054240" y="2943044"/>
            <a:ext cx="2560320" cy="54881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Acceso a Dat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DCD233-A9D4-C6E6-B3B1-C82B07C5961C}"/>
              </a:ext>
            </a:extLst>
          </p:cNvPr>
          <p:cNvSpPr>
            <a:spLocks noGrp="1"/>
          </p:cNvSpPr>
          <p:nvPr>
            <p:ph type="body" idx="19"/>
            <p:custDataLst>
              <p:tags r:id="rId10"/>
            </p:custDataLst>
          </p:nvPr>
        </p:nvSpPr>
        <p:spPr>
          <a:xfrm>
            <a:off x="8830968" y="2943044"/>
            <a:ext cx="2560320" cy="54881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1800" noProof="1">
                <a:solidFill>
                  <a:schemeClr val="tx2"/>
                </a:solidFill>
                <a:latin typeface="Arial" panose="020B0604020202020204" pitchFamily="34" charset="0"/>
              </a:rPr>
              <a:t>Persistencia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AC37CAB9-6646-51C9-8360-A2B91525CD9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9600" y="373414"/>
            <a:ext cx="3814762" cy="3048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>
            <a:lvl1pPr indent="0" defTabSz="914377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lang="en-US" sz="1400" b="0" i="0" spc="0" normalizeH="0" baseline="0" dirty="0" smtClean="0">
                <a:solidFill>
                  <a:schemeClr val="accent1"/>
                </a:solidFill>
              </a:defRPr>
            </a:lvl1pPr>
            <a:lvl2pPr marL="6286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2pPr>
            <a:lvl3pPr marL="10858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3pPr>
            <a:lvl4pPr marL="1543050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4pPr>
            <a:lvl5pPr marL="2001838" indent="-285750" defTabSz="914377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b="0" i="0" spc="0" normalizeH="0" baseline="0">
                <a:cs typeface="Arial" panose="020B0604020202020204" pitchFamily="34" charset="0"/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Arquitectur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1D0CC03-5B78-8F24-7E55-25FE18497299}"/>
              </a:ext>
            </a:extLst>
          </p:cNvPr>
          <p:cNvSpPr/>
          <p:nvPr/>
        </p:nvSpPr>
        <p:spPr>
          <a:xfrm>
            <a:off x="503682" y="481583"/>
            <a:ext cx="91440" cy="914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3785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8DAF14-DB79-5413-5180-DCFD264F37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219B31E-4501-5CB7-22DE-D3F45EEAAFF2}"/>
              </a:ext>
            </a:extLst>
          </p:cNvPr>
          <p:cNvSpPr/>
          <p:nvPr/>
        </p:nvSpPr>
        <p:spPr>
          <a:xfrm>
            <a:off x="-177" y="-1"/>
            <a:ext cx="404505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7F5C78A-E91D-970B-011B-EEC903A4825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76879" y="540720"/>
            <a:ext cx="274320" cy="27432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1687E9A-8643-69E7-2371-4EA64F8ED50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476879" y="2541792"/>
            <a:ext cx="274320" cy="27432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0C1E4CE-FD76-C218-45BB-B3CF9499EA4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476879" y="4544212"/>
            <a:ext cx="274320" cy="2743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DDD53A8-A1BE-E889-B918-07E5C0FBA5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nologías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A963EF6-72BE-690D-C4A9-470EF49C53C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09600" y="700740"/>
            <a:ext cx="2946360" cy="5435600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cnologías Utilizadas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8102D9D9-A20B-2AF0-DDB2-301B96B246EE}"/>
              </a:ext>
            </a:extLst>
          </p:cNvPr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6773779" y="468868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dirty="0">
                <a:latin typeface="Arial" panose="020B0604020202020204" pitchFamily="34" charset="0"/>
              </a:rPr>
              <a:t>Framework para construir interfaces de usuario rápidas y eficientes, permitiendo un UI dinámico y responsivo.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1CAA38ED-DD87-625E-F9EF-4BAC3C60439D}"/>
              </a:ext>
            </a:extLst>
          </p:cNvPr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6773778" y="2474714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dirty="0">
                <a:latin typeface="Arial" panose="020B0604020202020204" pitchFamily="34" charset="0"/>
              </a:rPr>
              <a:t>Electron permite crear aplicaciones de escritorio multiplataforma y Vite.js acelera la construcción y recarga rápida del desarrollo.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6CE14138-0460-1516-AFA4-87C38216A530}"/>
              </a:ext>
            </a:extLst>
          </p:cNvPr>
          <p:cNvSpPr>
            <a:spLocks noGrp="1"/>
          </p:cNvSpPr>
          <p:nvPr>
            <p:ph sz="half" idx="13"/>
            <p:custDataLst>
              <p:tags r:id="rId8"/>
            </p:custDataLst>
          </p:nvPr>
        </p:nvSpPr>
        <p:spPr>
          <a:xfrm>
            <a:off x="6773778" y="4480560"/>
            <a:ext cx="4808619" cy="1920240"/>
          </a:xfrm>
        </p:spPr>
        <p:txBody>
          <a:bodyPr vert="horz" lIns="91440" tIns="45720" rIns="91440" bIns="45720" rtlCol="0"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dirty="0">
                <a:latin typeface="Arial" panose="020B0604020202020204" pitchFamily="34" charset="0"/>
              </a:rPr>
              <a:t>SQLite ofrece base de datos ligera y local, mientras que JWT asegura la autenticación y protección de datos con tokens seguro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129971E-D8DD-365F-C02D-D9119A4DD6F3}"/>
              </a:ext>
            </a:extLst>
          </p:cNvPr>
          <p:cNvSpPr>
            <a:spLocks noGrp="1"/>
          </p:cNvSpPr>
          <p:nvPr>
            <p:ph type="body" idx="14"/>
            <p:custDataLst>
              <p:tags r:id="rId9"/>
            </p:custDataLst>
          </p:nvPr>
        </p:nvSpPr>
        <p:spPr>
          <a:xfrm>
            <a:off x="5028112" y="468866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20000"/>
              </a:lnSpc>
            </a:pPr>
            <a:r>
              <a:rPr lang="en-US" sz="1600" dirty="0">
                <a:solidFill>
                  <a:schemeClr val="tx2"/>
                </a:solidFill>
                <a:latin typeface="+mj-lt"/>
              </a:rPr>
              <a:t>Reac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1CE913B-66A9-A636-777B-3E54F2B48DD2}"/>
              </a:ext>
            </a:extLst>
          </p:cNvPr>
          <p:cNvSpPr>
            <a:spLocks noGrp="1"/>
          </p:cNvSpPr>
          <p:nvPr>
            <p:ph type="body" idx="15"/>
            <p:custDataLst>
              <p:tags r:id="rId10"/>
            </p:custDataLst>
          </p:nvPr>
        </p:nvSpPr>
        <p:spPr>
          <a:xfrm>
            <a:off x="5028112" y="2474714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20000"/>
              </a:lnSpc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Electron &amp; Vite.j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3AFA4D0-98CD-BB50-8585-B8601A682619}"/>
              </a:ext>
            </a:extLst>
          </p:cNvPr>
          <p:cNvSpPr>
            <a:spLocks noGrp="1"/>
          </p:cNvSpPr>
          <p:nvPr>
            <p:ph type="body" idx="16"/>
            <p:custDataLst>
              <p:tags r:id="rId11"/>
            </p:custDataLst>
          </p:nvPr>
        </p:nvSpPr>
        <p:spPr>
          <a:xfrm>
            <a:off x="5028112" y="4480560"/>
            <a:ext cx="1652617" cy="1920240"/>
          </a:xfrm>
        </p:spPr>
        <p:txBody>
          <a:bodyPr vert="horz" lIns="91440" tIns="45720" rIns="91440" bIns="45720" rtlCol="0" anchor="t">
            <a:normAutofit/>
          </a:bodyPr>
          <a:lstStyle/>
          <a:p>
            <a:pPr indent="9525">
              <a:lnSpc>
                <a:spcPct val="120000"/>
              </a:lnSpc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SQLite &amp; JW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A61BC-0F96-A8DF-5A52-CB78E4BDA1D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632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99B7002-33AD-F2F4-EE0B-4C2808EE39D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BB4C0C7-DEBB-7AD1-4AC6-84AB17EED7E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92480"/>
          </a:xfrm>
        </p:spPr>
        <p:txBody>
          <a:bodyPr>
            <a:normAutofit/>
          </a:bodyPr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aracterísticas y Funcionalidades Clav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5F4DE25-5666-B033-6C5F-56853D33C2B7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3235243"/>
            <a:ext cx="2642616" cy="2822658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30000"/>
              </a:lnSpc>
              <a:buNone/>
            </a:pPr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Crear, editar y almacenar contratos con control de versiones y firmas digitales integradas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9E3D164-34EA-CCC6-0D04-370EF0F48223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386328" y="3235243"/>
            <a:ext cx="2642616" cy="2822658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30000"/>
              </a:lnSpc>
              <a:buNone/>
            </a:pPr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Agregar y gestionar suplementos contractuales vinculados a contratos principales de forma ágil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CE048E-468B-46C2-9D3B-C1E8319AA2F4}"/>
              </a:ext>
            </a:extLst>
          </p:cNvPr>
          <p:cNvSpPr>
            <a:spLocks noGrp="1"/>
          </p:cNvSpPr>
          <p:nvPr>
            <p:ph type="body" idx="14"/>
            <p:custDataLst>
              <p:tags r:id="rId5"/>
            </p:custDataLst>
          </p:nvPr>
        </p:nvSpPr>
        <p:spPr>
          <a:xfrm>
            <a:off x="609602" y="2532351"/>
            <a:ext cx="2642616" cy="640080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sz="1800" dirty="0">
                <a:latin typeface="Arial" panose="020B0604020202020204" pitchFamily="34" charset="0"/>
              </a:rPr>
              <a:t>Gestión de Contrato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D62A190-0D55-FEDE-2AE9-DCF41814D4DA}"/>
              </a:ext>
            </a:extLst>
          </p:cNvPr>
          <p:cNvSpPr>
            <a:spLocks noGrp="1"/>
          </p:cNvSpPr>
          <p:nvPr>
            <p:ph type="body" idx="15"/>
            <p:custDataLst>
              <p:tags r:id="rId6"/>
            </p:custDataLst>
          </p:nvPr>
        </p:nvSpPr>
        <p:spPr>
          <a:xfrm>
            <a:off x="3386328" y="2532351"/>
            <a:ext cx="2642616" cy="640080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sz="1800" dirty="0">
                <a:latin typeface="Arial" panose="020B0604020202020204" pitchFamily="34" charset="0"/>
              </a:rPr>
              <a:t>Módulo de Suplemento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88CA6F2-A08C-9780-2FF1-33D610FBC6F0}"/>
              </a:ext>
            </a:extLst>
          </p:cNvPr>
          <p:cNvSpPr>
            <a:spLocks noGrp="1"/>
          </p:cNvSpPr>
          <p:nvPr>
            <p:ph sz="half" idx="16"/>
            <p:custDataLst>
              <p:tags r:id="rId7"/>
            </p:custDataLst>
          </p:nvPr>
        </p:nvSpPr>
        <p:spPr>
          <a:xfrm>
            <a:off x="6163056" y="3235243"/>
            <a:ext cx="2642616" cy="2822658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30000"/>
              </a:lnSpc>
              <a:buNone/>
            </a:pPr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Visualizar indicadores clave y alertas automáticas para seguimiento y toma de decisiones.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F778047-B10F-BD6D-AF9D-58DD30A86E36}"/>
              </a:ext>
            </a:extLst>
          </p:cNvPr>
          <p:cNvSpPr>
            <a:spLocks noGrp="1"/>
          </p:cNvSpPr>
          <p:nvPr>
            <p:ph sz="half" idx="17"/>
            <p:custDataLst>
              <p:tags r:id="rId8"/>
            </p:custDataLst>
          </p:nvPr>
        </p:nvSpPr>
        <p:spPr>
          <a:xfrm>
            <a:off x="8939784" y="3237344"/>
            <a:ext cx="2642616" cy="2822658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30000"/>
              </a:lnSpc>
              <a:buNone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</a:rPr>
              <a:t>Almacenar y organizar todos los documentos contractuales en un sistema seguro y accesible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738F25-3596-3DFF-6CD8-E0CC3E33F87A}"/>
              </a:ext>
            </a:extLst>
          </p:cNvPr>
          <p:cNvSpPr>
            <a:spLocks noGrp="1"/>
          </p:cNvSpPr>
          <p:nvPr>
            <p:ph type="body" idx="18"/>
            <p:custDataLst>
              <p:tags r:id="rId9"/>
            </p:custDataLst>
          </p:nvPr>
        </p:nvSpPr>
        <p:spPr>
          <a:xfrm>
            <a:off x="6163056" y="2532351"/>
            <a:ext cx="2642616" cy="640080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sz="1800" dirty="0">
                <a:latin typeface="Arial" panose="020B0604020202020204" pitchFamily="34" charset="0"/>
              </a:rPr>
              <a:t>Dashboard </a:t>
            </a:r>
            <a:r>
              <a:rPr lang="en-US" sz="1800" dirty="0" err="1">
                <a:latin typeface="Arial" panose="020B0604020202020204" pitchFamily="34" charset="0"/>
              </a:rPr>
              <a:t>Interactivo</a:t>
            </a:r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BD0E6-D218-A1EB-6E8E-CC61B22CB9B8}"/>
              </a:ext>
            </a:extLst>
          </p:cNvPr>
          <p:cNvSpPr>
            <a:spLocks noGrp="1"/>
          </p:cNvSpPr>
          <p:nvPr>
            <p:ph type="body" idx="19"/>
            <p:custDataLst>
              <p:tags r:id="rId10"/>
            </p:custDataLst>
          </p:nvPr>
        </p:nvSpPr>
        <p:spPr>
          <a:xfrm>
            <a:off x="8939784" y="2532351"/>
            <a:ext cx="2642616" cy="640080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sz="1800" dirty="0" err="1">
                <a:latin typeface="Arial" panose="020B0604020202020204" pitchFamily="34" charset="0"/>
              </a:rPr>
              <a:t>Repositorio</a:t>
            </a:r>
            <a:r>
              <a:rPr lang="en-US" sz="1800" dirty="0">
                <a:latin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</a:rPr>
              <a:t>Centralizado</a:t>
            </a:r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3855ABF-D0CB-75C3-1227-4C0006877B37}"/>
              </a:ext>
            </a:extLst>
          </p:cNvPr>
          <p:cNvSpPr/>
          <p:nvPr/>
        </p:nvSpPr>
        <p:spPr>
          <a:xfrm>
            <a:off x="609600" y="1738913"/>
            <a:ext cx="640080" cy="640080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351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934050A-DC75-C60B-AA88-D872F8CCA64F}"/>
              </a:ext>
            </a:extLst>
          </p:cNvPr>
          <p:cNvSpPr/>
          <p:nvPr/>
        </p:nvSpPr>
        <p:spPr>
          <a:xfrm>
            <a:off x="3381925" y="1738913"/>
            <a:ext cx="640080" cy="640080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35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8D1DE72-CE9B-963F-5943-13A29207A2E9}"/>
              </a:ext>
            </a:extLst>
          </p:cNvPr>
          <p:cNvSpPr/>
          <p:nvPr/>
        </p:nvSpPr>
        <p:spPr>
          <a:xfrm>
            <a:off x="6154251" y="1738913"/>
            <a:ext cx="640080" cy="640080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35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C535457-1C45-A954-3607-9CD1C531293A}"/>
              </a:ext>
            </a:extLst>
          </p:cNvPr>
          <p:cNvSpPr/>
          <p:nvPr/>
        </p:nvSpPr>
        <p:spPr>
          <a:xfrm>
            <a:off x="8926576" y="1738913"/>
            <a:ext cx="640080" cy="640080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35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E6EFDB-A5D7-2D3D-7B31-1EBDAE08FC31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109456" y="1921793"/>
            <a:ext cx="274320" cy="27432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648B04E7-02BB-BB06-BC21-949179BCEA73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2480" y="1921793"/>
            <a:ext cx="274320" cy="27432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5C10B3D-8CB1-22DC-AC80-9B8F4A398C8B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64805" y="1921793"/>
            <a:ext cx="274320" cy="27432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5772D04-4C85-73AB-3341-2EF53D7292E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37131" y="1921793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03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FD412F-B94E-1721-9826-9D2FC2FE78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2D7107D-547D-3DB2-BF26-C3088DF364C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600" y="460338"/>
            <a:ext cx="5486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76FC2E3-0DA6-6198-B832-42129418005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700741"/>
            <a:ext cx="10972800" cy="787400"/>
          </a:xfrm>
        </p:spPr>
        <p:txBody>
          <a:bodyPr>
            <a:normAutofit/>
          </a:bodyPr>
          <a:lstStyle/>
          <a:p>
            <a:r>
              <a:rPr lang="en-US" noProof="1">
                <a:latin typeface="Arial" panose="020B0604020202020204" pitchFamily="34" charset="0"/>
                <a:cs typeface="Arial" panose="020B0604020202020204" pitchFamily="34" charset="0"/>
              </a:rPr>
              <a:t>Flujo de Proces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85C2367-CB64-A887-433A-7E1AB9BFA1A6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9600" y="2269266"/>
            <a:ext cx="3291840" cy="1618428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400" noProof="1">
                <a:latin typeface="Arial" panose="020B0604020202020204" pitchFamily="34" charset="0"/>
              </a:rPr>
              <a:t>El usuario inicia un nuevo contrato ingresando los datos esenciales y condiciones en la aplicación PACTA, el Sistema valida la informacion y lo guarda en la base de dato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E79367D-DC70-6AD5-5B3A-0F9FC9529672}"/>
              </a:ext>
            </a:extLst>
          </p:cNvPr>
          <p:cNvSpPr>
            <a:spLocks noGrp="1"/>
          </p:cNvSpPr>
          <p:nvPr>
            <p:ph type="body" idx="14"/>
            <p:custDataLst>
              <p:tags r:id="rId4"/>
            </p:custDataLst>
          </p:nvPr>
        </p:nvSpPr>
        <p:spPr>
          <a:xfrm>
            <a:off x="609601" y="1412241"/>
            <a:ext cx="3291840" cy="670559"/>
          </a:xfrm>
        </p:spPr>
        <p:txBody>
          <a:bodyPr>
            <a:normAutofit/>
          </a:bodyPr>
          <a:lstStyle/>
          <a:p>
            <a:r>
              <a:rPr lang="en-US" sz="1800" noProof="1">
                <a:solidFill>
                  <a:schemeClr val="accent1"/>
                </a:solidFill>
                <a:latin typeface="Arial" panose="020B0604020202020204" pitchFamily="34" charset="0"/>
              </a:rPr>
              <a:t>Creación de Contrato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B9887ED-CED7-BE5C-BEE4-FEA4A7E19874}"/>
              </a:ext>
            </a:extLst>
          </p:cNvPr>
          <p:cNvCxnSpPr>
            <a:cxnSpLocks/>
          </p:cNvCxnSpPr>
          <p:nvPr/>
        </p:nvCxnSpPr>
        <p:spPr>
          <a:xfrm>
            <a:off x="657729" y="2162707"/>
            <a:ext cx="3017520" cy="0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1D777B94-42A0-E8DB-35C8-BD1942F383F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9600" y="6400800"/>
            <a:ext cx="1825782" cy="198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8E10E5A-EB56-C391-F941-6A5AB034AB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414"/>
          <a:stretch/>
        </p:blipFill>
        <p:spPr>
          <a:xfrm>
            <a:off x="6675839" y="0"/>
            <a:ext cx="28253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63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d1e65e54-753c-4368-946b-ddb430583b0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rt_titl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r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abel_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RLVE0ffF3gM9eJj3yvz3m"/>
  <p:tag name="PLUS_SLIDE_PPT_ID" val="672#2306864617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rt_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r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abel_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FzedsfTQ3ccCtO09a8g4z"/>
  <p:tag name="PLUS_SLIDE_PPT_ID" val="624#207875138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swappable_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value_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value_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abel_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value_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4GJR2AvHXD2Mm6n9jQ35C"/>
  <p:tag name="PLUS_SLIDE_PPT_ID" val="615#319802080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4GJR2AvHXD2Mm6n9jRR2O"/>
  <p:tag name="PLUS_SLIDE_PPT_ID" val="634#92386487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FzedsfTQ3ccCtO09a92qg"/>
  <p:tag name="PLUS_SLIDE_PPT_ID" val="655#77378552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logo"/>
</p:tagLst>
</file>

<file path=ppt/theme/theme1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0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1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2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3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4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5.xml><?xml version="1.0" encoding="utf-8"?>
<a:theme xmlns:a="http://schemas.openxmlformats.org/drawingml/2006/main" name="Modernist Professional">
  <a:themeElements>
    <a:clrScheme name="Modernist Professional">
      <a:dk1>
        <a:srgbClr val="000000"/>
      </a:dk1>
      <a:lt1>
        <a:srgbClr val="FFFFFF"/>
      </a:lt1>
      <a:dk2>
        <a:srgbClr val="838E9B"/>
      </a:dk2>
      <a:lt2>
        <a:srgbClr val="F3F3F7"/>
      </a:lt2>
      <a:accent1>
        <a:srgbClr val="736CED"/>
      </a:accent1>
      <a:accent2>
        <a:srgbClr val="D1AC00"/>
      </a:accent2>
      <a:accent3>
        <a:srgbClr val="69605C"/>
      </a:accent3>
      <a:accent4>
        <a:srgbClr val="1D3461"/>
      </a:accent4>
      <a:accent5>
        <a:srgbClr val="D3CBE5"/>
      </a:accent5>
      <a:accent6>
        <a:srgbClr val="838E9B"/>
      </a:accent6>
      <a:hlink>
        <a:srgbClr val="736CED"/>
      </a:hlink>
      <a:folHlink>
        <a:srgbClr val="736CED"/>
      </a:folHlink>
    </a:clrScheme>
    <a:fontScheme name="Tw Cen MT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6.xml><?xml version="1.0" encoding="utf-8"?>
<a:theme xmlns:a="http://schemas.openxmlformats.org/drawingml/2006/main" name="Modernist Professional">
  <a:themeElements>
    <a:clrScheme name="Sketchbook">
      <a:dk1>
        <a:srgbClr val="1E1E1E"/>
      </a:dk1>
      <a:lt1>
        <a:srgbClr val="FFFFFF"/>
      </a:lt1>
      <a:dk2>
        <a:srgbClr val="909090"/>
      </a:dk2>
      <a:lt2>
        <a:srgbClr val="F0F0F0"/>
      </a:lt2>
      <a:accent1>
        <a:srgbClr val="36FFB1"/>
      </a:accent1>
      <a:accent2>
        <a:srgbClr val="33C97F"/>
      </a:accent2>
      <a:accent3>
        <a:srgbClr val="F4442E"/>
      </a:accent3>
      <a:accent4>
        <a:srgbClr val="6665DD"/>
      </a:accent4>
      <a:accent5>
        <a:srgbClr val="D64833"/>
      </a:accent5>
      <a:accent6>
        <a:srgbClr val="8BF0BE"/>
      </a:accent6>
      <a:hlink>
        <a:srgbClr val="011627"/>
      </a:hlink>
      <a:folHlink>
        <a:srgbClr val="011627"/>
      </a:folHlink>
    </a:clrScheme>
    <a:fontScheme name="Dreaming Outloud Pro">
      <a:majorFont>
        <a:latin typeface="Dreaming Outloud Pro"/>
        <a:ea typeface=""/>
        <a:cs typeface=""/>
      </a:majorFont>
      <a:minorFont>
        <a:latin typeface="Dreaming Outloud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 Theme">
  <a:themeElements>
    <a:clrScheme name="Plus Default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6E03FD8-1E85-4A2C-96A9-6F8A8B8BBB91}">
  <we:reference id="wa200007130" version="1.0.0.1" store="es-ES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89</TotalTime>
  <Words>1105</Words>
  <Application>Microsoft Office PowerPoint</Application>
  <PresentationFormat>Panorámica</PresentationFormat>
  <Paragraphs>125</Paragraphs>
  <Slides>18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43" baseType="lpstr">
      <vt:lpstr>Aptos</vt:lpstr>
      <vt:lpstr>Aptos Display</vt:lpstr>
      <vt:lpstr>Arial</vt:lpstr>
      <vt:lpstr>Calibri</vt:lpstr>
      <vt:lpstr>Dreaming Outloud Pro</vt:lpstr>
      <vt:lpstr>Franklin Gothic Book</vt:lpstr>
      <vt:lpstr>Franklin Gothic Medium</vt:lpstr>
      <vt:lpstr>Tw Cen MT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Modernist Professional</vt:lpstr>
      <vt:lpstr>Modernist Professional</vt:lpstr>
      <vt:lpstr>think-cell Slide</vt:lpstr>
      <vt:lpstr>PACTA</vt:lpstr>
      <vt:lpstr>Importancia de la gestión contractual eficiente</vt:lpstr>
      <vt:lpstr>Problema Actual</vt:lpstr>
      <vt:lpstr>PACTA busca optimizar el ciclo de vida contractual mediante tres pilares fundamentales:</vt:lpstr>
      <vt:lpstr>Componentes Clave de PACTA</vt:lpstr>
      <vt:lpstr>Evolución de la Arquitectura del Sistema</vt:lpstr>
      <vt:lpstr>Tecnologías Utilizadas</vt:lpstr>
      <vt:lpstr>Características y Funcionalidades Clave</vt:lpstr>
      <vt:lpstr>Flujo de Proceso</vt:lpstr>
      <vt:lpstr>Flujo de Proceso</vt:lpstr>
      <vt:lpstr>Flujo de Proceso</vt:lpstr>
      <vt:lpstr>Flujo de Proceso</vt:lpstr>
      <vt:lpstr>Dashboard &amp; Notificaciones</vt:lpstr>
      <vt:lpstr>Comparativa de Soluciones de Gestión de Contratos</vt:lpstr>
      <vt:lpstr>Evaluación del impacto económico</vt:lpstr>
      <vt:lpstr>Planificación del Proyecto</vt:lpstr>
      <vt:lpstr>Riesgos y Contingencias</vt:lpstr>
      <vt:lpstr>Conclusiones y Próximos Pas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lvys Triana Castro</dc:creator>
  <cp:lastModifiedBy>Jelvys Triana Castro</cp:lastModifiedBy>
  <cp:revision>9</cp:revision>
  <dcterms:created xsi:type="dcterms:W3CDTF">2025-05-29T15:51:28Z</dcterms:created>
  <dcterms:modified xsi:type="dcterms:W3CDTF">2025-06-06T14:22:21Z</dcterms:modified>
</cp:coreProperties>
</file>